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6.xml" ContentType="application/vnd.openxmlformats-officedocument.presentationml.tags+xml"/>
  <Override PartName="/ppt/notesSlides/notesSlide30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58" r:id="rId5"/>
  </p:sldMasterIdLst>
  <p:notesMasterIdLst>
    <p:notesMasterId r:id="rId56"/>
  </p:notesMasterIdLst>
  <p:sldIdLst>
    <p:sldId id="276" r:id="rId6"/>
    <p:sldId id="277" r:id="rId7"/>
    <p:sldId id="428" r:id="rId8"/>
    <p:sldId id="429" r:id="rId9"/>
    <p:sldId id="278" r:id="rId10"/>
    <p:sldId id="279" r:id="rId11"/>
    <p:sldId id="430" r:id="rId12"/>
    <p:sldId id="438" r:id="rId13"/>
    <p:sldId id="280" r:id="rId14"/>
    <p:sldId id="282" r:id="rId15"/>
    <p:sldId id="283" r:id="rId16"/>
    <p:sldId id="262" r:id="rId17"/>
    <p:sldId id="443" r:id="rId18"/>
    <p:sldId id="444" r:id="rId19"/>
    <p:sldId id="490" r:id="rId20"/>
    <p:sldId id="502" r:id="rId21"/>
    <p:sldId id="495" r:id="rId22"/>
    <p:sldId id="486" r:id="rId23"/>
    <p:sldId id="491" r:id="rId24"/>
    <p:sldId id="496" r:id="rId25"/>
    <p:sldId id="488" r:id="rId26"/>
    <p:sldId id="498" r:id="rId27"/>
    <p:sldId id="504" r:id="rId28"/>
    <p:sldId id="477" r:id="rId29"/>
    <p:sldId id="478" r:id="rId30"/>
    <p:sldId id="505" r:id="rId31"/>
    <p:sldId id="506" r:id="rId32"/>
    <p:sldId id="507" r:id="rId33"/>
    <p:sldId id="508" r:id="rId34"/>
    <p:sldId id="509" r:id="rId35"/>
    <p:sldId id="510" r:id="rId36"/>
    <p:sldId id="481" r:id="rId37"/>
    <p:sldId id="480" r:id="rId38"/>
    <p:sldId id="511" r:id="rId39"/>
    <p:sldId id="416" r:id="rId40"/>
    <p:sldId id="516" r:id="rId41"/>
    <p:sldId id="439" r:id="rId42"/>
    <p:sldId id="440" r:id="rId43"/>
    <p:sldId id="441" r:id="rId44"/>
    <p:sldId id="442" r:id="rId45"/>
    <p:sldId id="483" r:id="rId46"/>
    <p:sldId id="512" r:id="rId47"/>
    <p:sldId id="464" r:id="rId48"/>
    <p:sldId id="513" r:id="rId49"/>
    <p:sldId id="514" r:id="rId50"/>
    <p:sldId id="515" r:id="rId51"/>
    <p:sldId id="493" r:id="rId52"/>
    <p:sldId id="420" r:id="rId53"/>
    <p:sldId id="422" r:id="rId54"/>
    <p:sldId id="431" r:id="rId55"/>
  </p:sldIdLst>
  <p:sldSz cx="12192000" cy="6858000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of Deck" id="{A56AF6E0-68FF-49B3-AFA8-1D94E458A7B0}">
          <p14:sldIdLst>
            <p14:sldId id="276"/>
            <p14:sldId id="277"/>
          </p14:sldIdLst>
        </p14:section>
        <p14:section name="Patch My PC Company" id="{3B41C231-3A8E-4E00-9798-553A1D7CF010}">
          <p14:sldIdLst>
            <p14:sldId id="428"/>
            <p14:sldId id="429"/>
          </p14:sldIdLst>
        </p14:section>
        <p14:section name="Importance of Patching" id="{13E3AE82-774B-4093-9AA1-84AD9840BB4C}">
          <p14:sldIdLst>
            <p14:sldId id="278"/>
            <p14:sldId id="279"/>
            <p14:sldId id="430"/>
            <p14:sldId id="438"/>
          </p14:sldIdLst>
        </p14:section>
        <p14:section name="What is the Challenge?" id="{AF398C8F-82C4-4455-870E-61759DEB301E}">
          <p14:sldIdLst>
            <p14:sldId id="280"/>
            <p14:sldId id="282"/>
            <p14:sldId id="283"/>
          </p14:sldIdLst>
        </p14:section>
        <p14:section name="What is the Solution?" id="{591440F0-3E54-42BE-AF18-93834CB28FDB}">
          <p14:sldIdLst>
            <p14:sldId id="262"/>
            <p14:sldId id="443"/>
            <p14:sldId id="444"/>
            <p14:sldId id="490"/>
          </p14:sldIdLst>
        </p14:section>
        <p14:section name="Patch My PC Cloud" id="{E097BC74-0FD6-4DFA-9EAA-9E847FAA406F}">
          <p14:sldIdLst>
            <p14:sldId id="502"/>
            <p14:sldId id="495"/>
            <p14:sldId id="486"/>
            <p14:sldId id="491"/>
            <p14:sldId id="496"/>
            <p14:sldId id="488"/>
            <p14:sldId id="498"/>
          </p14:sldIdLst>
        </p14:section>
        <p14:section name="Patch My PC Publisher" id="{12301795-529F-402C-B22E-7B4B7B4DEC68}">
          <p14:sldIdLst>
            <p14:sldId id="504"/>
            <p14:sldId id="477"/>
            <p14:sldId id="478"/>
            <p14:sldId id="505"/>
            <p14:sldId id="506"/>
            <p14:sldId id="507"/>
            <p14:sldId id="508"/>
            <p14:sldId id="509"/>
          </p14:sldIdLst>
        </p14:section>
        <p14:section name="Curated Catalog" id="{C0A6FBC2-B251-4EE7-81E6-7C54E5A59F27}">
          <p14:sldIdLst>
            <p14:sldId id="510"/>
            <p14:sldId id="481"/>
            <p14:sldId id="480"/>
          </p14:sldIdLst>
        </p14:section>
        <p14:section name="Advanced Insights" id="{EC8A66BC-3DEC-48E0-8B5F-C94767FA6320}">
          <p14:sldIdLst>
            <p14:sldId id="511"/>
            <p14:sldId id="416"/>
            <p14:sldId id="516"/>
            <p14:sldId id="439"/>
            <p14:sldId id="440"/>
            <p14:sldId id="441"/>
            <p14:sldId id="442"/>
          </p14:sldIdLst>
        </p14:section>
        <p14:section name="Whats Coming Up?" id="{C3AB764C-33D3-4307-B220-88AA7AC45915}">
          <p14:sldIdLst>
            <p14:sldId id="483"/>
            <p14:sldId id="512"/>
            <p14:sldId id="464"/>
            <p14:sldId id="513"/>
            <p14:sldId id="514"/>
            <p14:sldId id="515"/>
            <p14:sldId id="493"/>
          </p14:sldIdLst>
        </p14:section>
        <p14:section name="Call to Action" id="{C77F5A2F-1106-4435-9B51-FCC31DC24DBB}">
          <p14:sldIdLst>
            <p14:sldId id="420"/>
            <p14:sldId id="422"/>
            <p14:sldId id="4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96" userDrawn="1">
          <p15:clr>
            <a:srgbClr val="A4A3A4"/>
          </p15:clr>
        </p15:guide>
        <p15:guide id="2" pos="446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B9713-AA07-EE68-BA0F-5565D1C4221E}" name="Harald Dumoulin" initials="HD" userId="3f8ec5b6292aaed5" providerId="Windows Live"/>
  <p188:author id="{3869D316-C96B-DCED-88E8-AD9C950F8F03}" name="Ben Whitmore" initials="BW" userId="S::ben.whitmore@patchmypc.com::a35d5824-e0b8-46a2-bc64-9b8f55f120bc" providerId="AD"/>
  <p188:author id="{A5E94E3F-61AE-F78D-169D-C1C3CD70CA7B}" name="Cory Mathis" initials="CM" userId="S::cory@patchmypc.com::ec5c9386-3897-4d1b-947e-15bcb21f29d5" providerId="AD"/>
  <p188:author id="{C03ED05A-5EAC-59C8-D811-DF1F98EDC840}" name="Natalia Bartosh" initials="NB" userId="Natalia Bartosh" providerId="None"/>
  <p188:author id="{BB94026D-011B-2EA3-E2F5-189D2160EE15}" name="Wout Vergauwen" initials="" userId="S::wout@patchmypc.com::c6c93d43-f524-400a-a696-061ad76c471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5F76"/>
    <a:srgbClr val="006094"/>
    <a:srgbClr val="003F61"/>
    <a:srgbClr val="F5F5F5"/>
    <a:srgbClr val="162A46"/>
    <a:srgbClr val="161521"/>
    <a:srgbClr val="1E1E2D"/>
    <a:srgbClr val="FFFFFF"/>
    <a:srgbClr val="1C221F"/>
    <a:srgbClr val="2429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9E4781-D389-B044-8C2F-847EB0834E61}" v="1" dt="2025-10-28T17:28:23.955"/>
    <p1510:client id="{E377A13A-31B6-4B47-BAE2-A73792E8D345}" v="14" dt="2025-10-28T18:07:03.6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45"/>
  </p:normalViewPr>
  <p:slideViewPr>
    <p:cSldViewPr snapToGrid="0">
      <p:cViewPr>
        <p:scale>
          <a:sx n="100" d="100"/>
          <a:sy n="100" d="100"/>
        </p:scale>
        <p:origin x="1338" y="606"/>
      </p:cViewPr>
      <p:guideLst>
        <p:guide orient="horz" pos="3696"/>
        <p:guide pos="44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microsoft.com/office/2016/11/relationships/changesInfo" Target="changesInfos/changesInfo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presProps" Target="pres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 Whitmore" userId="a35d5824-e0b8-46a2-bc64-9b8f55f120bc" providerId="ADAL" clId="{FD174617-F477-4E0A-9DC2-34DD6C8BD279}"/>
    <pc:docChg chg="custSel modSld">
      <pc:chgData name="Ben Whitmore" userId="a35d5824-e0b8-46a2-bc64-9b8f55f120bc" providerId="ADAL" clId="{FD174617-F477-4E0A-9DC2-34DD6C8BD279}" dt="2025-10-28T18:14:11.060" v="88" actId="1076"/>
      <pc:docMkLst>
        <pc:docMk/>
      </pc:docMkLst>
      <pc:sldChg chg="modSp">
        <pc:chgData name="Ben Whitmore" userId="a35d5824-e0b8-46a2-bc64-9b8f55f120bc" providerId="ADAL" clId="{FD174617-F477-4E0A-9DC2-34DD6C8BD279}" dt="2025-10-28T18:04:26.266" v="11" actId="20577"/>
        <pc:sldMkLst>
          <pc:docMk/>
          <pc:sldMk cId="190871442" sldId="428"/>
        </pc:sldMkLst>
        <pc:spChg chg="mod">
          <ac:chgData name="Ben Whitmore" userId="a35d5824-e0b8-46a2-bc64-9b8f55f120bc" providerId="ADAL" clId="{FD174617-F477-4E0A-9DC2-34DD6C8BD279}" dt="2025-10-28T18:04:17.817" v="5" actId="20577"/>
          <ac:spMkLst>
            <pc:docMk/>
            <pc:sldMk cId="190871442" sldId="428"/>
            <ac:spMk id="45" creationId="{CF4B36BE-B5CD-8FA8-3E89-8BAD05D42C84}"/>
          </ac:spMkLst>
        </pc:spChg>
        <pc:spChg chg="mod">
          <ac:chgData name="Ben Whitmore" userId="a35d5824-e0b8-46a2-bc64-9b8f55f120bc" providerId="ADAL" clId="{FD174617-F477-4E0A-9DC2-34DD6C8BD279}" dt="2025-10-28T18:04:21.324" v="7" actId="20577"/>
          <ac:spMkLst>
            <pc:docMk/>
            <pc:sldMk cId="190871442" sldId="428"/>
            <ac:spMk id="50" creationId="{95749518-2C6D-809C-EA11-4490F6F28E54}"/>
          </ac:spMkLst>
        </pc:spChg>
        <pc:spChg chg="mod">
          <ac:chgData name="Ben Whitmore" userId="a35d5824-e0b8-46a2-bc64-9b8f55f120bc" providerId="ADAL" clId="{FD174617-F477-4E0A-9DC2-34DD6C8BD279}" dt="2025-10-28T18:04:26.266" v="11" actId="20577"/>
          <ac:spMkLst>
            <pc:docMk/>
            <pc:sldMk cId="190871442" sldId="428"/>
            <ac:spMk id="59" creationId="{4D500E44-BD25-F905-A1A7-51F8F965BFE7}"/>
          </ac:spMkLst>
        </pc:spChg>
      </pc:sldChg>
      <pc:sldChg chg="modSp mod">
        <pc:chgData name="Ben Whitmore" userId="a35d5824-e0b8-46a2-bc64-9b8f55f120bc" providerId="ADAL" clId="{FD174617-F477-4E0A-9DC2-34DD6C8BD279}" dt="2025-10-28T18:05:00.557" v="34" actId="20577"/>
        <pc:sldMkLst>
          <pc:docMk/>
          <pc:sldMk cId="1698915945" sldId="444"/>
        </pc:sldMkLst>
        <pc:graphicFrameChg chg="modGraphic">
          <ac:chgData name="Ben Whitmore" userId="a35d5824-e0b8-46a2-bc64-9b8f55f120bc" providerId="ADAL" clId="{FD174617-F477-4E0A-9DC2-34DD6C8BD279}" dt="2025-10-28T18:05:00.557" v="34" actId="20577"/>
          <ac:graphicFrameMkLst>
            <pc:docMk/>
            <pc:sldMk cId="1698915945" sldId="444"/>
            <ac:graphicFrameMk id="3" creationId="{BAC34FC7-335D-7C8B-9EED-AD7BB42D3849}"/>
          </ac:graphicFrameMkLst>
        </pc:graphicFrameChg>
      </pc:sldChg>
      <pc:sldChg chg="addSp delSp modSp mod">
        <pc:chgData name="Ben Whitmore" userId="a35d5824-e0b8-46a2-bc64-9b8f55f120bc" providerId="ADAL" clId="{FD174617-F477-4E0A-9DC2-34DD6C8BD279}" dt="2025-10-28T18:14:11.060" v="88" actId="1076"/>
        <pc:sldMkLst>
          <pc:docMk/>
          <pc:sldMk cId="3254781517" sldId="464"/>
        </pc:sldMkLst>
        <pc:spChg chg="mod">
          <ac:chgData name="Ben Whitmore" userId="a35d5824-e0b8-46a2-bc64-9b8f55f120bc" providerId="ADAL" clId="{FD174617-F477-4E0A-9DC2-34DD6C8BD279}" dt="2025-10-28T18:05:54.709" v="39" actId="20577"/>
          <ac:spMkLst>
            <pc:docMk/>
            <pc:sldMk cId="3254781517" sldId="464"/>
            <ac:spMk id="10" creationId="{2A9C61A5-36EA-58BE-0B9B-40CE45BC43AE}"/>
          </ac:spMkLst>
        </pc:spChg>
        <pc:picChg chg="add del mod">
          <ac:chgData name="Ben Whitmore" userId="a35d5824-e0b8-46a2-bc64-9b8f55f120bc" providerId="ADAL" clId="{FD174617-F477-4E0A-9DC2-34DD6C8BD279}" dt="2025-10-28T18:13:38.802" v="81" actId="478"/>
          <ac:picMkLst>
            <pc:docMk/>
            <pc:sldMk cId="3254781517" sldId="464"/>
            <ac:picMk id="4" creationId="{D85004AD-2A8E-50EE-50D9-A7F4F71C9B44}"/>
          </ac:picMkLst>
        </pc:picChg>
        <pc:picChg chg="del">
          <ac:chgData name="Ben Whitmore" userId="a35d5824-e0b8-46a2-bc64-9b8f55f120bc" providerId="ADAL" clId="{FD174617-F477-4E0A-9DC2-34DD6C8BD279}" dt="2025-10-28T18:13:10.204" v="75" actId="478"/>
          <ac:picMkLst>
            <pc:docMk/>
            <pc:sldMk cId="3254781517" sldId="464"/>
            <ac:picMk id="9" creationId="{545598B3-107B-4D27-6B6E-81A07D14C829}"/>
          </ac:picMkLst>
        </pc:picChg>
        <pc:picChg chg="add mod">
          <ac:chgData name="Ben Whitmore" userId="a35d5824-e0b8-46a2-bc64-9b8f55f120bc" providerId="ADAL" clId="{FD174617-F477-4E0A-9DC2-34DD6C8BD279}" dt="2025-10-28T18:14:11.060" v="88" actId="1076"/>
          <ac:picMkLst>
            <pc:docMk/>
            <pc:sldMk cId="3254781517" sldId="464"/>
            <ac:picMk id="17" creationId="{695ABBC3-76DF-8E17-0003-10284BED51C2}"/>
          </ac:picMkLst>
        </pc:picChg>
      </pc:sldChg>
      <pc:sldChg chg="modSp mod">
        <pc:chgData name="Ben Whitmore" userId="a35d5824-e0b8-46a2-bc64-9b8f55f120bc" providerId="ADAL" clId="{FD174617-F477-4E0A-9DC2-34DD6C8BD279}" dt="2025-10-28T18:07:06.745" v="64"/>
        <pc:sldMkLst>
          <pc:docMk/>
          <pc:sldMk cId="3915274752" sldId="493"/>
        </pc:sldMkLst>
        <pc:spChg chg="mod">
          <ac:chgData name="Ben Whitmore" userId="a35d5824-e0b8-46a2-bc64-9b8f55f120bc" providerId="ADAL" clId="{FD174617-F477-4E0A-9DC2-34DD6C8BD279}" dt="2025-10-28T18:07:06.745" v="64"/>
          <ac:spMkLst>
            <pc:docMk/>
            <pc:sldMk cId="3915274752" sldId="493"/>
            <ac:spMk id="14" creationId="{DF9D5A4E-DD02-801E-C751-52DCC3CC875A}"/>
          </ac:spMkLst>
        </pc:spChg>
      </pc:sldChg>
      <pc:sldChg chg="modSp mod">
        <pc:chgData name="Ben Whitmore" userId="a35d5824-e0b8-46a2-bc64-9b8f55f120bc" providerId="ADAL" clId="{FD174617-F477-4E0A-9DC2-34DD6C8BD279}" dt="2025-10-28T18:06:38.946" v="60"/>
        <pc:sldMkLst>
          <pc:docMk/>
          <pc:sldMk cId="1695893520" sldId="513"/>
        </pc:sldMkLst>
        <pc:spChg chg="mod">
          <ac:chgData name="Ben Whitmore" userId="a35d5824-e0b8-46a2-bc64-9b8f55f120bc" providerId="ADAL" clId="{FD174617-F477-4E0A-9DC2-34DD6C8BD279}" dt="2025-10-28T18:06:38.946" v="60"/>
          <ac:spMkLst>
            <pc:docMk/>
            <pc:sldMk cId="1695893520" sldId="513"/>
            <ac:spMk id="10" creationId="{9E42E097-E70E-50B9-6BAD-C70924AD96EA}"/>
          </ac:spMkLst>
        </pc:spChg>
      </pc:sldChg>
      <pc:sldChg chg="addSp delSp modSp mod">
        <pc:chgData name="Ben Whitmore" userId="a35d5824-e0b8-46a2-bc64-9b8f55f120bc" providerId="ADAL" clId="{FD174617-F477-4E0A-9DC2-34DD6C8BD279}" dt="2025-10-28T18:13:06.751" v="74" actId="14100"/>
        <pc:sldMkLst>
          <pc:docMk/>
          <pc:sldMk cId="3619946732" sldId="514"/>
        </pc:sldMkLst>
        <pc:spChg chg="mod">
          <ac:chgData name="Ben Whitmore" userId="a35d5824-e0b8-46a2-bc64-9b8f55f120bc" providerId="ADAL" clId="{FD174617-F477-4E0A-9DC2-34DD6C8BD279}" dt="2025-10-28T18:06:56.884" v="61" actId="20577"/>
          <ac:spMkLst>
            <pc:docMk/>
            <pc:sldMk cId="3619946732" sldId="514"/>
            <ac:spMk id="10" creationId="{8D7D1CFE-ED89-DAE3-95A9-2D252605AA3C}"/>
          </ac:spMkLst>
        </pc:spChg>
        <pc:picChg chg="del">
          <ac:chgData name="Ben Whitmore" userId="a35d5824-e0b8-46a2-bc64-9b8f55f120bc" providerId="ADAL" clId="{FD174617-F477-4E0A-9DC2-34DD6C8BD279}" dt="2025-10-28T18:12:47.929" v="67" actId="478"/>
          <ac:picMkLst>
            <pc:docMk/>
            <pc:sldMk cId="3619946732" sldId="514"/>
            <ac:picMk id="2" creationId="{61ADEDE3-974F-FA1E-BB0D-945DADDBAADB}"/>
          </ac:picMkLst>
        </pc:picChg>
        <pc:picChg chg="add mod">
          <ac:chgData name="Ben Whitmore" userId="a35d5824-e0b8-46a2-bc64-9b8f55f120bc" providerId="ADAL" clId="{FD174617-F477-4E0A-9DC2-34DD6C8BD279}" dt="2025-10-28T18:13:06.751" v="74" actId="14100"/>
          <ac:picMkLst>
            <pc:docMk/>
            <pc:sldMk cId="3619946732" sldId="514"/>
            <ac:picMk id="9" creationId="{FCE20071-3F49-18E7-CCD9-F0590D31CBC9}"/>
          </ac:picMkLst>
        </pc:picChg>
      </pc:sldChg>
      <pc:sldChg chg="modSp mod">
        <pc:chgData name="Ben Whitmore" userId="a35d5824-e0b8-46a2-bc64-9b8f55f120bc" providerId="ADAL" clId="{FD174617-F477-4E0A-9DC2-34DD6C8BD279}" dt="2025-10-28T18:09:38.222" v="66"/>
        <pc:sldMkLst>
          <pc:docMk/>
          <pc:sldMk cId="2531240363" sldId="515"/>
        </pc:sldMkLst>
        <pc:spChg chg="mod">
          <ac:chgData name="Ben Whitmore" userId="a35d5824-e0b8-46a2-bc64-9b8f55f120bc" providerId="ADAL" clId="{FD174617-F477-4E0A-9DC2-34DD6C8BD279}" dt="2025-10-28T18:09:38.222" v="66"/>
          <ac:spMkLst>
            <pc:docMk/>
            <pc:sldMk cId="2531240363" sldId="515"/>
            <ac:spMk id="10" creationId="{01679C9B-3B64-487B-A0BB-9C671A709DE5}"/>
          </ac:spMkLst>
        </pc:spChg>
      </pc:sldChg>
    </pc:docChg>
  </pc:docChgLst>
  <pc:docChgLst>
    <pc:chgData name="Cory Mathis" userId="ec5c9386-3897-4d1b-947e-15bcb21f29d5" providerId="ADAL" clId="{007E37C3-F029-5434-A3AB-44A8823BA2D8}"/>
    <pc:docChg chg="modSld">
      <pc:chgData name="Cory Mathis" userId="ec5c9386-3897-4d1b-947e-15bcb21f29d5" providerId="ADAL" clId="{007E37C3-F029-5434-A3AB-44A8823BA2D8}" dt="2025-10-28T17:28:38.418" v="28" actId="1076"/>
      <pc:docMkLst>
        <pc:docMk/>
      </pc:docMkLst>
      <pc:sldChg chg="modSp mod">
        <pc:chgData name="Cory Mathis" userId="ec5c9386-3897-4d1b-947e-15bcb21f29d5" providerId="ADAL" clId="{007E37C3-F029-5434-A3AB-44A8823BA2D8}" dt="2025-10-28T17:28:38.418" v="28" actId="1076"/>
        <pc:sldMkLst>
          <pc:docMk/>
          <pc:sldMk cId="135751673" sldId="483"/>
        </pc:sldMkLst>
        <pc:spChg chg="mod">
          <ac:chgData name="Cory Mathis" userId="ec5c9386-3897-4d1b-947e-15bcb21f29d5" providerId="ADAL" clId="{007E37C3-F029-5434-A3AB-44A8823BA2D8}" dt="2025-10-28T17:28:38.418" v="28" actId="1076"/>
          <ac:spMkLst>
            <pc:docMk/>
            <pc:sldMk cId="135751673" sldId="483"/>
            <ac:spMk id="2" creationId="{0964F889-110F-F14B-1365-39396E8FA214}"/>
          </ac:spMkLst>
        </pc:spChg>
      </pc:sldChg>
      <pc:sldChg chg="modSp mod">
        <pc:chgData name="Cory Mathis" userId="ec5c9386-3897-4d1b-947e-15bcb21f29d5" providerId="ADAL" clId="{007E37C3-F029-5434-A3AB-44A8823BA2D8}" dt="2025-10-28T17:28:20.083" v="24" actId="20577"/>
        <pc:sldMkLst>
          <pc:docMk/>
          <pc:sldMk cId="2029056329" sldId="512"/>
        </pc:sldMkLst>
        <pc:spChg chg="mod">
          <ac:chgData name="Cory Mathis" userId="ec5c9386-3897-4d1b-947e-15bcb21f29d5" providerId="ADAL" clId="{007E37C3-F029-5434-A3AB-44A8823BA2D8}" dt="2025-10-28T17:28:20.083" v="24" actId="20577"/>
          <ac:spMkLst>
            <pc:docMk/>
            <pc:sldMk cId="2029056329" sldId="512"/>
            <ac:spMk id="13" creationId="{2AE8FCF4-D798-9CF4-4476-1F7307775D1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88E6FE-2DE8-4954-9ABA-9D3E423DF97B}" type="datetimeFigureOut">
              <a:rPr lang="nl-BE" smtClean="0"/>
              <a:t>28/10/2025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664827-2DB4-4296-909C-96CA3B5EC6A5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47027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359417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594880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30708-8F5A-A220-38FD-358136DD1C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0D60D6-FEB0-5270-8D52-B7120CD7B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AE036B-AC50-79CB-F098-79C38A849D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19868-30E5-049E-BE8A-0994978297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8410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8EF28-6CFC-D1F6-2013-540E86FF6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F64036-1883-9702-2F37-A8E874A92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9F56BE-8CA7-5A43-D962-D84091F99A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EFE254-C14C-C96B-1235-9CC891099B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59408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141BAB-56DC-0710-E972-F9B0D21AE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712820-3B50-5B67-19BF-F7A30AC8BF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2C793F-4155-8E2F-8007-9340C2D4AC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C23958-47D1-17A8-6FE0-0B382F8C0A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23134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41DF4-B0EB-0DD0-2744-504C5A173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09D11F-3158-2C70-DDA8-63A88BED9B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DD743F-66BD-1EE0-9417-62D0FDC04D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47D3C2-9411-081D-4322-95B5A5A8DB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166034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01060-D8BA-5885-0C70-D7A0B65D4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0C79DD-7C5E-DFCE-E1B6-B05AECF95F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A44F24-F1F2-B897-64F9-48B2E02DCF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1B08E7-6F50-181E-B5E7-6568DAC2CB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88550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BA5C8-529B-860C-FB01-2A062DCD08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1ECAB3-B234-6835-81C6-6237D6D7BE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882795-9A2A-E601-BF69-789C1CFC57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6B65A-F47E-13ED-4579-52A388D0D5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529718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B8EEC1-7387-4EAE-43E2-C5482673A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D875B1-8F5E-197E-C8B9-A87819CC17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82EDD8-2337-3BF7-8EDC-8F9DEF01D1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35CB5-FF0C-5607-833F-C94C2C842E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129503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B14444-BE5D-C232-3EF7-E2039296D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CD3774-DBBB-8828-8E94-7A8A8362B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83E545-E6CA-5E20-3EF0-391D7F01B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83DD6-6BB1-EBB9-21E2-E6CC6B91D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671562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F8775-999A-FBA1-A745-64400761FA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0C8202-44C3-9B64-9D8E-7E1B7CADD0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2F2011-1E18-BD9A-F10C-8735C09045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AAA494-2A92-1C0E-D386-A907B0E9CE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25908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175541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59161-A4A4-F9D2-AD55-D03C609AD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57C094-B54A-0DA1-76FD-24CC1045C2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446E0A-60FE-40A0-5C82-EF5D3059FF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29B91-21F4-08F2-F59E-91BD4AB043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026906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D7A4F-55DE-12F9-D80B-027991935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216DA9-383B-319D-5252-EEE941BE11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551A9D-812C-7582-CB9A-89D9D7209D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997B9-421E-4514-2752-238BD6658E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107104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17DB3-5CEC-AB14-EA19-410FB82756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FAC534-F65A-0E16-0470-07F910C0E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C9042D-2EB5-6DE4-4C88-9A4CF018F3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BA4DB-D00B-83C1-5AFD-C45110070F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556293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71AE75-7C26-4B39-95A2-130E9DA8A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0E70C5-1C5D-3C6E-3782-DFADB8A210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EBE757-2C6A-AC63-6B7C-9685FA1BFB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42ABFF-BD01-FA0D-17B1-790678C994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346435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45CF5-1165-74C9-6C72-3BE0DBEA5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0E0979-A994-989B-C7AE-3E365E949C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0C1438-13C1-65C9-C67F-E6BC234420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55C790-4E60-EB62-9E3B-7A29B1FF25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2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671525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D3298-328F-2414-166E-5858F693C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2EFEBC-811D-EC34-6072-AB008E1DFD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8DD00F-EDDC-0DB7-3DB3-976D8D110E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BA5D3-9613-94DF-2A82-E1B914E2DA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920708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E8944-AA9D-06AD-5F34-53F4C2F14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79956C-D4D1-CECF-114F-383611C793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020E2D-6620-2AD6-E60D-1EDB0E43F9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D61B5-AB46-B61C-65B4-6401991CBE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963636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95298E-3A87-0F55-518F-30C657529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3344C8-7D39-8CC7-343F-5100CC092A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F1FFF6-E044-B16F-5B5E-BA85BBD4B3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04F5F-456C-5AF2-2B7F-3E6B653712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253087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791BC0-2091-2AF7-DAE0-22F466850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D8DE65-ED47-2C9C-DE12-1C556F4107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102999-4947-9302-E264-9330BD8D0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907CF-43AC-0F44-DFD8-F7204DB147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524483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BFA76-E28D-7E23-059E-9869A48CC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538280-9BBA-BD46-AC7B-5BDC7387EF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42E04-BC6C-A7DD-72E8-36EE0E962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18F40-206C-8A4A-5421-9A572E41BA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7267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1236891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D8C674-AE0F-129E-7FD0-D0AFFD9CFE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4DA5E1-5420-24EE-151B-EE869EBE41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90D5BC-8810-EDC8-948A-001B254AF0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5729C-BFE5-C87A-B6D5-E6EF0F2B13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3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627356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2B5DA-FDCB-8AC5-2A16-AB43B8FCA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FDEDD8-3153-D5AA-D741-A309A0D9A7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40DE87-DE95-E1B7-D84D-370DAA0170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17206-7A9A-E869-4586-ED09FA90F1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2855807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4D849-9E9B-323C-0F97-D11B30B35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0FC68F-D7A7-6D10-A4A0-F00F4AAB4F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5F3D5B-497B-1115-3E49-A95F9F2DDF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30297-E5A3-B74A-0A46-5E4F97698F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573423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AC01E-2C74-B3EA-A3E8-8026DDCF6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0E362F-8118-D230-B64F-81058B33C0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340E44-DAC6-245F-32F8-BB40A57ECF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625945-2D9F-EC65-AD00-6FD8FD1AE4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341925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06681A-B055-7351-8F88-8255F4295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F39D4B-897F-D212-210C-5C008990D7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42F2CA-B816-FBF9-D63B-7848FEEB5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0F6EA-B759-968D-6CD7-BC9F024B4D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079840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3CBED-1904-C5A6-4115-1EB31481D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2CC40E-2F17-D84A-685A-7CBF556851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67763B-9E72-A2F8-80D4-088BEB86F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3B983E-CBAC-65DD-1111-5B9589D890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432276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2F109-2AB8-AA2B-1BAA-D3E4D6F3D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0D1222-4092-2611-9A75-C5DC03DD29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3B40FC-5B7A-B484-585C-7E5A4F898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2F7792-DFCC-ADCF-A3DD-65E1D33E4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9379913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652CD-A321-99C1-1BAF-89B6A8AC2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EF95CD-0331-6221-9CB1-7C9F7EFFB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03467F-DE42-8631-1F6F-DB4C2613AD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C961A-5E98-1FF9-0785-4BB21404B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4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2655293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5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89315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72082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solidFill>
                <a:srgbClr val="ECECEC"/>
              </a:solidFill>
              <a:latin typeface="Söhn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1025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4014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76773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97458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664827-2DB4-4296-909C-96CA3B5EC6A5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80034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FFFE3A5D-5997-2646-A59C-99B920CB33D9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 rot="16200000">
            <a:off x="2666032" y="-2667968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58178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AF314B1-439E-82A7-EDFC-178F8FA9C7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0" y="1225806"/>
            <a:ext cx="3519367" cy="469950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1C094DA-1984-A7CB-3369-D2F214DC21F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56533" y="1224483"/>
            <a:ext cx="3576530" cy="4738617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oogle Shape;44;p28">
            <a:extLst>
              <a:ext uri="{FF2B5EF4-FFF2-40B4-BE49-F238E27FC236}">
                <a16:creationId xmlns:a16="http://schemas.microsoft.com/office/drawing/2014/main" id="{BE6A8448-6EDF-839A-51D4-0314A58FFA30}"/>
              </a:ext>
            </a:extLst>
          </p:cNvPr>
          <p:cNvSpPr txBox="1">
            <a:spLocks noGrp="1"/>
          </p:cNvSpPr>
          <p:nvPr>
            <p:ph type="body" idx="24"/>
          </p:nvPr>
        </p:nvSpPr>
        <p:spPr>
          <a:xfrm>
            <a:off x="311231" y="262889"/>
            <a:ext cx="11521832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AA76434-0021-0B73-60AB-72F55A912D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2776" y="1225806"/>
            <a:ext cx="3519367" cy="469950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3706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44;p28">
            <a:extLst>
              <a:ext uri="{FF2B5EF4-FFF2-40B4-BE49-F238E27FC236}">
                <a16:creationId xmlns:a16="http://schemas.microsoft.com/office/drawing/2014/main" id="{64D1BFCF-E82A-3995-18B0-88E3659D9D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1" y="262889"/>
            <a:ext cx="7500912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3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" name="Google Shape;204;p52">
            <a:extLst>
              <a:ext uri="{FF2B5EF4-FFF2-40B4-BE49-F238E27FC236}">
                <a16:creationId xmlns:a16="http://schemas.microsoft.com/office/drawing/2014/main" id="{BF0B1691-F415-8FAE-2316-600FD3C685F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217159" y="0"/>
            <a:ext cx="3974842" cy="5925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bg1"/>
                </a:solidFill>
                <a:latin typeface="Poppins" panose="00000500000000000000" pitchFamily="2" charset="0"/>
                <a:ea typeface="Lato"/>
                <a:cs typeface="Poppins" panose="00000500000000000000" pitchFamily="2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2E28B6E-4AC9-F376-6F79-2773DA7A2A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0" y="1225806"/>
            <a:ext cx="3519367" cy="469950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E865D55-981F-DC96-66D8-41FFEAEA94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2776" y="1225806"/>
            <a:ext cx="3519367" cy="469950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814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44;p28">
            <a:extLst>
              <a:ext uri="{FF2B5EF4-FFF2-40B4-BE49-F238E27FC236}">
                <a16:creationId xmlns:a16="http://schemas.microsoft.com/office/drawing/2014/main" id="{0BADC116-2E1B-650F-07F5-F011111D32E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0" y="262889"/>
            <a:ext cx="3653265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BE98518-4D0F-7E3C-D68F-693848348A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0" y="1225806"/>
            <a:ext cx="3653265" cy="4704023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oogle Shape;204;p52">
            <a:extLst>
              <a:ext uri="{FF2B5EF4-FFF2-40B4-BE49-F238E27FC236}">
                <a16:creationId xmlns:a16="http://schemas.microsoft.com/office/drawing/2014/main" id="{0612636F-1C33-455D-9DB7-492E97E41F9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396636" y="0"/>
            <a:ext cx="7795365" cy="5929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bg1"/>
                </a:solidFill>
                <a:latin typeface="+mn-lt"/>
                <a:ea typeface="Lato"/>
                <a:cs typeface="Poppins" panose="00000500000000000000" pitchFamily="2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16163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4;p28">
            <a:extLst>
              <a:ext uri="{FF2B5EF4-FFF2-40B4-BE49-F238E27FC236}">
                <a16:creationId xmlns:a16="http://schemas.microsoft.com/office/drawing/2014/main" id="{0BE8B0F1-9FD2-5FDD-7233-907E380898E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29" y="262889"/>
            <a:ext cx="11521440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3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279EE2A-AAA3-403C-13E7-583ED119A3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1" y="1225806"/>
            <a:ext cx="2699448" cy="4704023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2209266-BB28-4B45-E467-97F0CBBE73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53467" y="1230840"/>
            <a:ext cx="2699448" cy="4704023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0C1878-993F-F358-0839-D1A72C8E4C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91369" y="1230840"/>
            <a:ext cx="2699448" cy="4704023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01400F1-0F8D-02B8-51A4-6994F8DD2A5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3221" y="1225806"/>
            <a:ext cx="2699448" cy="4704023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1483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4;p28">
            <a:extLst>
              <a:ext uri="{FF2B5EF4-FFF2-40B4-BE49-F238E27FC236}">
                <a16:creationId xmlns:a16="http://schemas.microsoft.com/office/drawing/2014/main" id="{000E4E8A-FB93-FCFB-B621-D00C55F1DFF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29" y="262889"/>
            <a:ext cx="11521440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3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" name="Google Shape;204;p52">
            <a:extLst>
              <a:ext uri="{FF2B5EF4-FFF2-40B4-BE49-F238E27FC236}">
                <a16:creationId xmlns:a16="http://schemas.microsoft.com/office/drawing/2014/main" id="{19D521ED-C8F1-8110-8542-D194BD7186F4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317051" y="4200312"/>
            <a:ext cx="2693627" cy="1734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dirty="0">
                <a:solidFill>
                  <a:schemeClr val="bg1"/>
                </a:solidFill>
                <a:latin typeface="Poppins" panose="00000500000000000000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3" name="Google Shape;204;p52">
            <a:extLst>
              <a:ext uri="{FF2B5EF4-FFF2-40B4-BE49-F238E27FC236}">
                <a16:creationId xmlns:a16="http://schemas.microsoft.com/office/drawing/2014/main" id="{3C9BE424-FAEF-B237-5816-A7C323DC3E21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3250187" y="4200312"/>
            <a:ext cx="2702727" cy="1734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dirty="0">
                <a:solidFill>
                  <a:schemeClr val="bg1"/>
                </a:solidFill>
                <a:latin typeface="Poppins" panose="00000500000000000000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5" name="Google Shape;204;p52">
            <a:extLst>
              <a:ext uri="{FF2B5EF4-FFF2-40B4-BE49-F238E27FC236}">
                <a16:creationId xmlns:a16="http://schemas.microsoft.com/office/drawing/2014/main" id="{4CB714C4-3D05-0C85-1CB5-ADEB3576713D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6191368" y="4200312"/>
            <a:ext cx="2702727" cy="1734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dirty="0">
                <a:solidFill>
                  <a:schemeClr val="bg1"/>
                </a:solidFill>
                <a:latin typeface="Poppins" panose="00000500000000000000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9" name="Google Shape;204;p52">
            <a:extLst>
              <a:ext uri="{FF2B5EF4-FFF2-40B4-BE49-F238E27FC236}">
                <a16:creationId xmlns:a16="http://schemas.microsoft.com/office/drawing/2014/main" id="{4FBFE140-F6F7-4C86-8CE0-24662B871B9B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9132549" y="4200312"/>
            <a:ext cx="2700120" cy="1734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dirty="0">
                <a:solidFill>
                  <a:schemeClr val="bg1"/>
                </a:solidFill>
                <a:latin typeface="Poppins" panose="00000500000000000000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DABDD-3742-2DCA-CCEE-799F44150F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1" y="1225807"/>
            <a:ext cx="2699448" cy="282978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61E654-23F5-6574-7D95-0DE0658438E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53467" y="1230841"/>
            <a:ext cx="2699448" cy="282978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64937CD-0E78-5F57-018E-2DEF2C8D94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91369" y="1230841"/>
            <a:ext cx="2699448" cy="282978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84F3080-83D5-1961-99B5-C06A95C775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33221" y="1225807"/>
            <a:ext cx="2699448" cy="282978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002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preserve="1" userDrawn="1">
  <p:cSld name="Title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oogle Shape;63;p32">
            <a:extLst>
              <a:ext uri="{FF2B5EF4-FFF2-40B4-BE49-F238E27FC236}">
                <a16:creationId xmlns:a16="http://schemas.microsoft.com/office/drawing/2014/main" id="{6F6C2A50-4664-ED41-E2DB-516AF79AAA8A}"/>
              </a:ext>
            </a:extLst>
          </p:cNvPr>
          <p:cNvCxnSpPr/>
          <p:nvPr userDrawn="1"/>
        </p:nvCxnSpPr>
        <p:spPr>
          <a:xfrm>
            <a:off x="6096000" y="1223474"/>
            <a:ext cx="1" cy="4411051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" name="Google Shape;16;p24">
            <a:extLst>
              <a:ext uri="{FF2B5EF4-FFF2-40B4-BE49-F238E27FC236}">
                <a16:creationId xmlns:a16="http://schemas.microsoft.com/office/drawing/2014/main" id="{78E9CE04-C27F-EAEB-83EB-5727B949A946}"/>
              </a:ext>
            </a:extLst>
          </p:cNvPr>
          <p:cNvSpPr/>
          <p:nvPr userDrawn="1"/>
        </p:nvSpPr>
        <p:spPr>
          <a:xfrm rot="10800000">
            <a:off x="1646" y="-2"/>
            <a:ext cx="4058739" cy="633536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+mn-lt"/>
              <a:ea typeface="Calibri"/>
              <a:cs typeface="Poppins" panose="00000500000000000000" pitchFamily="2" charset="0"/>
              <a:sym typeface="Calibri"/>
            </a:endParaRPr>
          </a:p>
        </p:txBody>
      </p:sp>
      <p:sp>
        <p:nvSpPr>
          <p:cNvPr id="2" name="Google Shape;44;p28">
            <a:extLst>
              <a:ext uri="{FF2B5EF4-FFF2-40B4-BE49-F238E27FC236}">
                <a16:creationId xmlns:a16="http://schemas.microsoft.com/office/drawing/2014/main" id="{F57687F6-07CD-D6DF-822A-8ADE466C2D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419601" y="262889"/>
            <a:ext cx="7402278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3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31;p25">
            <a:extLst>
              <a:ext uri="{FF2B5EF4-FFF2-40B4-BE49-F238E27FC236}">
                <a16:creationId xmlns:a16="http://schemas.microsoft.com/office/drawing/2014/main" id="{CB97C1F3-8C4D-44BC-8C6B-7B7682ABBB8A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407987" y="2327842"/>
            <a:ext cx="3433649" cy="676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3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200"/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900"/>
              <a:buNone/>
              <a:defRPr sz="1200" b="1">
                <a:solidFill>
                  <a:srgbClr val="FFFFFF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900"/>
              <a:buNone/>
              <a:defRPr sz="1200" b="1">
                <a:solidFill>
                  <a:srgbClr val="FFFFFF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900"/>
              <a:buNone/>
              <a:defRPr sz="1200" b="1">
                <a:solidFill>
                  <a:srgbClr val="FFFFFF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900"/>
              <a:buNone/>
              <a:defRPr sz="1200" b="1">
                <a:solidFill>
                  <a:srgbClr val="FFFFFF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32;p25">
            <a:extLst>
              <a:ext uri="{FF2B5EF4-FFF2-40B4-BE49-F238E27FC236}">
                <a16:creationId xmlns:a16="http://schemas.microsoft.com/office/drawing/2014/main" id="{CA7FEA86-F9D3-5D05-9391-3EC222E6BEBB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407987" y="262889"/>
            <a:ext cx="3434670" cy="1933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chemeClr val="tx1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11F4A9F-B0F9-18B9-AF06-6A03BAC56B1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19601" y="1223474"/>
            <a:ext cx="7402278" cy="4710140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A6394E1-6C00-949C-5860-3C387088682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07987" y="3147709"/>
            <a:ext cx="3434670" cy="278590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635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B95AEBE-8364-A340-EB4C-4966C341F016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Google Shape;32;p25">
            <a:extLst>
              <a:ext uri="{FF2B5EF4-FFF2-40B4-BE49-F238E27FC236}">
                <a16:creationId xmlns:a16="http://schemas.microsoft.com/office/drawing/2014/main" id="{713B82DE-CF92-4AA8-6842-70CF82446615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EF09C5-CFBF-CE26-66BA-1CC5337ACCAA}"/>
              </a:ext>
            </a:extLst>
          </p:cNvPr>
          <p:cNvSpPr txBox="1"/>
          <p:nvPr userDrawn="1"/>
        </p:nvSpPr>
        <p:spPr>
          <a:xfrm>
            <a:off x="1340615" y="786716"/>
            <a:ext cx="3108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Value of the Month – Most Mentioned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01D52B-1DFA-DF01-E197-ECAC75C216D3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340498" y="803544"/>
            <a:chExt cx="673644" cy="673644"/>
          </a:xfrm>
        </p:grpSpPr>
        <p:sp>
          <p:nvSpPr>
            <p:cNvPr id="11" name="Rounded Rectangle 112">
              <a:extLst>
                <a:ext uri="{FF2B5EF4-FFF2-40B4-BE49-F238E27FC236}">
                  <a16:creationId xmlns:a16="http://schemas.microsoft.com/office/drawing/2014/main" id="{8F15F042-CF92-CD36-7DB3-D58E7C69F857}"/>
                </a:ext>
              </a:extLst>
            </p:cNvPr>
            <p:cNvSpPr/>
            <p:nvPr userDrawn="1"/>
          </p:nvSpPr>
          <p:spPr>
            <a:xfrm>
              <a:off x="340498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F7D167BB-D509-A31E-519F-0588D82FE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6108" y="899252"/>
              <a:ext cx="332563" cy="492275"/>
            </a:xfrm>
            <a:custGeom>
              <a:avLst/>
              <a:gdLst>
                <a:gd name="T0" fmla="*/ 492 w 1090"/>
                <a:gd name="T1" fmla="*/ 35 h 1615"/>
                <a:gd name="T2" fmla="*/ 21 w 1090"/>
                <a:gd name="T3" fmla="*/ 502 h 1615"/>
                <a:gd name="T4" fmla="*/ 198 w 1090"/>
                <a:gd name="T5" fmla="*/ 970 h 1615"/>
                <a:gd name="T6" fmla="*/ 198 w 1090"/>
                <a:gd name="T7" fmla="*/ 1054 h 1615"/>
                <a:gd name="T8" fmla="*/ 323 w 1090"/>
                <a:gd name="T9" fmla="*/ 1268 h 1615"/>
                <a:gd name="T10" fmla="*/ 323 w 1090"/>
                <a:gd name="T11" fmla="*/ 1395 h 1615"/>
                <a:gd name="T12" fmla="*/ 442 w 1090"/>
                <a:gd name="T13" fmla="*/ 1513 h 1615"/>
                <a:gd name="T14" fmla="*/ 476 w 1090"/>
                <a:gd name="T15" fmla="*/ 1513 h 1615"/>
                <a:gd name="T16" fmla="*/ 476 w 1090"/>
                <a:gd name="T17" fmla="*/ 1538 h 1615"/>
                <a:gd name="T18" fmla="*/ 553 w 1090"/>
                <a:gd name="T19" fmla="*/ 1615 h 1615"/>
                <a:gd name="T20" fmla="*/ 554 w 1090"/>
                <a:gd name="T21" fmla="*/ 1615 h 1615"/>
                <a:gd name="T22" fmla="*/ 631 w 1090"/>
                <a:gd name="T23" fmla="*/ 1538 h 1615"/>
                <a:gd name="T24" fmla="*/ 631 w 1090"/>
                <a:gd name="T25" fmla="*/ 1513 h 1615"/>
                <a:gd name="T26" fmla="*/ 665 w 1090"/>
                <a:gd name="T27" fmla="*/ 1513 h 1615"/>
                <a:gd name="T28" fmla="*/ 784 w 1090"/>
                <a:gd name="T29" fmla="*/ 1395 h 1615"/>
                <a:gd name="T30" fmla="*/ 784 w 1090"/>
                <a:gd name="T31" fmla="*/ 1268 h 1615"/>
                <a:gd name="T32" fmla="*/ 909 w 1090"/>
                <a:gd name="T33" fmla="*/ 1054 h 1615"/>
                <a:gd name="T34" fmla="*/ 909 w 1090"/>
                <a:gd name="T35" fmla="*/ 970 h 1615"/>
                <a:gd name="T36" fmla="*/ 1090 w 1090"/>
                <a:gd name="T37" fmla="*/ 569 h 1615"/>
                <a:gd name="T38" fmla="*/ 492 w 1090"/>
                <a:gd name="T39" fmla="*/ 35 h 1615"/>
                <a:gd name="T40" fmla="*/ 653 w 1090"/>
                <a:gd name="T41" fmla="*/ 703 h 1615"/>
                <a:gd name="T42" fmla="*/ 653 w 1090"/>
                <a:gd name="T43" fmla="*/ 1186 h 1615"/>
                <a:gd name="T44" fmla="*/ 454 w 1090"/>
                <a:gd name="T45" fmla="*/ 1186 h 1615"/>
                <a:gd name="T46" fmla="*/ 454 w 1090"/>
                <a:gd name="T47" fmla="*/ 703 h 1615"/>
                <a:gd name="T48" fmla="*/ 653 w 1090"/>
                <a:gd name="T49" fmla="*/ 703 h 1615"/>
                <a:gd name="T50" fmla="*/ 816 w 1090"/>
                <a:gd name="T51" fmla="*/ 899 h 1615"/>
                <a:gd name="T52" fmla="*/ 794 w 1090"/>
                <a:gd name="T53" fmla="*/ 916 h 1615"/>
                <a:gd name="T54" fmla="*/ 794 w 1090"/>
                <a:gd name="T55" fmla="*/ 1054 h 1615"/>
                <a:gd name="T56" fmla="*/ 710 w 1090"/>
                <a:gd name="T57" fmla="*/ 1177 h 1615"/>
                <a:gd name="T58" fmla="*/ 710 w 1090"/>
                <a:gd name="T59" fmla="*/ 703 h 1615"/>
                <a:gd name="T60" fmla="*/ 731 w 1090"/>
                <a:gd name="T61" fmla="*/ 703 h 1615"/>
                <a:gd name="T62" fmla="*/ 816 w 1090"/>
                <a:gd name="T63" fmla="*/ 618 h 1615"/>
                <a:gd name="T64" fmla="*/ 816 w 1090"/>
                <a:gd name="T65" fmla="*/ 573 h 1615"/>
                <a:gd name="T66" fmla="*/ 731 w 1090"/>
                <a:gd name="T67" fmla="*/ 488 h 1615"/>
                <a:gd name="T68" fmla="*/ 376 w 1090"/>
                <a:gd name="T69" fmla="*/ 488 h 1615"/>
                <a:gd name="T70" fmla="*/ 291 w 1090"/>
                <a:gd name="T71" fmla="*/ 573 h 1615"/>
                <a:gd name="T72" fmla="*/ 291 w 1090"/>
                <a:gd name="T73" fmla="*/ 618 h 1615"/>
                <a:gd name="T74" fmla="*/ 376 w 1090"/>
                <a:gd name="T75" fmla="*/ 703 h 1615"/>
                <a:gd name="T76" fmla="*/ 397 w 1090"/>
                <a:gd name="T77" fmla="*/ 703 h 1615"/>
                <a:gd name="T78" fmla="*/ 397 w 1090"/>
                <a:gd name="T79" fmla="*/ 1177 h 1615"/>
                <a:gd name="T80" fmla="*/ 313 w 1090"/>
                <a:gd name="T81" fmla="*/ 1054 h 1615"/>
                <a:gd name="T82" fmla="*/ 313 w 1090"/>
                <a:gd name="T83" fmla="*/ 916 h 1615"/>
                <a:gd name="T84" fmla="*/ 292 w 1090"/>
                <a:gd name="T85" fmla="*/ 899 h 1615"/>
                <a:gd name="T86" fmla="*/ 135 w 1090"/>
                <a:gd name="T87" fmla="*/ 516 h 1615"/>
                <a:gd name="T88" fmla="*/ 505 w 1090"/>
                <a:gd name="T89" fmla="*/ 150 h 1615"/>
                <a:gd name="T90" fmla="*/ 554 w 1090"/>
                <a:gd name="T91" fmla="*/ 147 h 1615"/>
                <a:gd name="T92" fmla="*/ 975 w 1090"/>
                <a:gd name="T93" fmla="*/ 569 h 1615"/>
                <a:gd name="T94" fmla="*/ 816 w 1090"/>
                <a:gd name="T95" fmla="*/ 899 h 1615"/>
                <a:gd name="T96" fmla="*/ 816 w 1090"/>
                <a:gd name="T97" fmla="*/ 899 h 1615"/>
                <a:gd name="T98" fmla="*/ 816 w 1090"/>
                <a:gd name="T99" fmla="*/ 899 h 1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0" h="1615">
                  <a:moveTo>
                    <a:pt x="492" y="35"/>
                  </a:moveTo>
                  <a:cubicBezTo>
                    <a:pt x="249" y="62"/>
                    <a:pt x="50" y="259"/>
                    <a:pt x="21" y="502"/>
                  </a:cubicBezTo>
                  <a:cubicBezTo>
                    <a:pt x="0" y="680"/>
                    <a:pt x="66" y="853"/>
                    <a:pt x="198" y="970"/>
                  </a:cubicBezTo>
                  <a:cubicBezTo>
                    <a:pt x="198" y="1054"/>
                    <a:pt x="198" y="1054"/>
                    <a:pt x="198" y="1054"/>
                  </a:cubicBezTo>
                  <a:cubicBezTo>
                    <a:pt x="198" y="1146"/>
                    <a:pt x="249" y="1225"/>
                    <a:pt x="323" y="1268"/>
                  </a:cubicBezTo>
                  <a:cubicBezTo>
                    <a:pt x="323" y="1395"/>
                    <a:pt x="323" y="1395"/>
                    <a:pt x="323" y="1395"/>
                  </a:cubicBezTo>
                  <a:cubicBezTo>
                    <a:pt x="323" y="1460"/>
                    <a:pt x="376" y="1513"/>
                    <a:pt x="442" y="1513"/>
                  </a:cubicBezTo>
                  <a:cubicBezTo>
                    <a:pt x="476" y="1513"/>
                    <a:pt x="476" y="1513"/>
                    <a:pt x="476" y="1513"/>
                  </a:cubicBezTo>
                  <a:cubicBezTo>
                    <a:pt x="476" y="1538"/>
                    <a:pt x="476" y="1538"/>
                    <a:pt x="476" y="1538"/>
                  </a:cubicBezTo>
                  <a:cubicBezTo>
                    <a:pt x="476" y="1580"/>
                    <a:pt x="510" y="1615"/>
                    <a:pt x="553" y="1615"/>
                  </a:cubicBezTo>
                  <a:cubicBezTo>
                    <a:pt x="554" y="1615"/>
                    <a:pt x="554" y="1615"/>
                    <a:pt x="554" y="1615"/>
                  </a:cubicBezTo>
                  <a:cubicBezTo>
                    <a:pt x="597" y="1615"/>
                    <a:pt x="631" y="1580"/>
                    <a:pt x="631" y="1538"/>
                  </a:cubicBezTo>
                  <a:cubicBezTo>
                    <a:pt x="631" y="1513"/>
                    <a:pt x="631" y="1513"/>
                    <a:pt x="631" y="1513"/>
                  </a:cubicBezTo>
                  <a:cubicBezTo>
                    <a:pt x="665" y="1513"/>
                    <a:pt x="665" y="1513"/>
                    <a:pt x="665" y="1513"/>
                  </a:cubicBezTo>
                  <a:cubicBezTo>
                    <a:pt x="731" y="1513"/>
                    <a:pt x="784" y="1460"/>
                    <a:pt x="784" y="1395"/>
                  </a:cubicBezTo>
                  <a:cubicBezTo>
                    <a:pt x="784" y="1268"/>
                    <a:pt x="784" y="1268"/>
                    <a:pt x="784" y="1268"/>
                  </a:cubicBezTo>
                  <a:cubicBezTo>
                    <a:pt x="858" y="1225"/>
                    <a:pt x="909" y="1146"/>
                    <a:pt x="909" y="1054"/>
                  </a:cubicBezTo>
                  <a:cubicBezTo>
                    <a:pt x="909" y="970"/>
                    <a:pt x="909" y="970"/>
                    <a:pt x="909" y="970"/>
                  </a:cubicBezTo>
                  <a:cubicBezTo>
                    <a:pt x="1024" y="868"/>
                    <a:pt x="1090" y="723"/>
                    <a:pt x="1090" y="569"/>
                  </a:cubicBezTo>
                  <a:cubicBezTo>
                    <a:pt x="1090" y="252"/>
                    <a:pt x="815" y="0"/>
                    <a:pt x="492" y="35"/>
                  </a:cubicBezTo>
                  <a:close/>
                  <a:moveTo>
                    <a:pt x="653" y="703"/>
                  </a:moveTo>
                  <a:cubicBezTo>
                    <a:pt x="653" y="1186"/>
                    <a:pt x="653" y="1186"/>
                    <a:pt x="653" y="1186"/>
                  </a:cubicBezTo>
                  <a:cubicBezTo>
                    <a:pt x="454" y="1186"/>
                    <a:pt x="454" y="1186"/>
                    <a:pt x="454" y="1186"/>
                  </a:cubicBezTo>
                  <a:cubicBezTo>
                    <a:pt x="454" y="703"/>
                    <a:pt x="454" y="703"/>
                    <a:pt x="454" y="703"/>
                  </a:cubicBezTo>
                  <a:lnTo>
                    <a:pt x="653" y="703"/>
                  </a:lnTo>
                  <a:close/>
                  <a:moveTo>
                    <a:pt x="816" y="899"/>
                  </a:moveTo>
                  <a:cubicBezTo>
                    <a:pt x="794" y="916"/>
                    <a:pt x="794" y="916"/>
                    <a:pt x="794" y="916"/>
                  </a:cubicBezTo>
                  <a:cubicBezTo>
                    <a:pt x="794" y="1054"/>
                    <a:pt x="794" y="1054"/>
                    <a:pt x="794" y="1054"/>
                  </a:cubicBezTo>
                  <a:cubicBezTo>
                    <a:pt x="794" y="1110"/>
                    <a:pt x="759" y="1157"/>
                    <a:pt x="710" y="1177"/>
                  </a:cubicBezTo>
                  <a:cubicBezTo>
                    <a:pt x="710" y="703"/>
                    <a:pt x="710" y="703"/>
                    <a:pt x="710" y="703"/>
                  </a:cubicBezTo>
                  <a:cubicBezTo>
                    <a:pt x="731" y="703"/>
                    <a:pt x="731" y="703"/>
                    <a:pt x="731" y="703"/>
                  </a:cubicBezTo>
                  <a:cubicBezTo>
                    <a:pt x="778" y="703"/>
                    <a:pt x="816" y="665"/>
                    <a:pt x="816" y="618"/>
                  </a:cubicBezTo>
                  <a:cubicBezTo>
                    <a:pt x="816" y="573"/>
                    <a:pt x="816" y="573"/>
                    <a:pt x="816" y="573"/>
                  </a:cubicBezTo>
                  <a:cubicBezTo>
                    <a:pt x="816" y="526"/>
                    <a:pt x="778" y="488"/>
                    <a:pt x="731" y="488"/>
                  </a:cubicBezTo>
                  <a:cubicBezTo>
                    <a:pt x="376" y="488"/>
                    <a:pt x="376" y="488"/>
                    <a:pt x="376" y="488"/>
                  </a:cubicBezTo>
                  <a:cubicBezTo>
                    <a:pt x="329" y="488"/>
                    <a:pt x="291" y="526"/>
                    <a:pt x="291" y="573"/>
                  </a:cubicBezTo>
                  <a:cubicBezTo>
                    <a:pt x="291" y="618"/>
                    <a:pt x="291" y="618"/>
                    <a:pt x="291" y="618"/>
                  </a:cubicBezTo>
                  <a:cubicBezTo>
                    <a:pt x="291" y="665"/>
                    <a:pt x="329" y="703"/>
                    <a:pt x="376" y="703"/>
                  </a:cubicBezTo>
                  <a:cubicBezTo>
                    <a:pt x="397" y="703"/>
                    <a:pt x="397" y="703"/>
                    <a:pt x="397" y="703"/>
                  </a:cubicBezTo>
                  <a:cubicBezTo>
                    <a:pt x="397" y="1177"/>
                    <a:pt x="397" y="1177"/>
                    <a:pt x="397" y="1177"/>
                  </a:cubicBezTo>
                  <a:cubicBezTo>
                    <a:pt x="348" y="1157"/>
                    <a:pt x="313" y="1110"/>
                    <a:pt x="313" y="1054"/>
                  </a:cubicBezTo>
                  <a:cubicBezTo>
                    <a:pt x="313" y="916"/>
                    <a:pt x="313" y="916"/>
                    <a:pt x="313" y="916"/>
                  </a:cubicBezTo>
                  <a:cubicBezTo>
                    <a:pt x="292" y="899"/>
                    <a:pt x="292" y="899"/>
                    <a:pt x="292" y="899"/>
                  </a:cubicBezTo>
                  <a:cubicBezTo>
                    <a:pt x="176" y="806"/>
                    <a:pt x="117" y="663"/>
                    <a:pt x="135" y="516"/>
                  </a:cubicBezTo>
                  <a:cubicBezTo>
                    <a:pt x="158" y="325"/>
                    <a:pt x="314" y="171"/>
                    <a:pt x="505" y="150"/>
                  </a:cubicBezTo>
                  <a:cubicBezTo>
                    <a:pt x="521" y="148"/>
                    <a:pt x="538" y="147"/>
                    <a:pt x="554" y="147"/>
                  </a:cubicBezTo>
                  <a:cubicBezTo>
                    <a:pt x="786" y="147"/>
                    <a:pt x="975" y="336"/>
                    <a:pt x="975" y="569"/>
                  </a:cubicBezTo>
                  <a:cubicBezTo>
                    <a:pt x="975" y="698"/>
                    <a:pt x="917" y="818"/>
                    <a:pt x="816" y="899"/>
                  </a:cubicBezTo>
                  <a:close/>
                  <a:moveTo>
                    <a:pt x="816" y="899"/>
                  </a:moveTo>
                  <a:cubicBezTo>
                    <a:pt x="816" y="899"/>
                    <a:pt x="816" y="899"/>
                    <a:pt x="816" y="89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8EEEC30-F5D0-E98D-E328-F4FA18F42A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018307"/>
            <a:ext cx="5304655" cy="298379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oogle Shape;83;g9a74927944_2_2">
            <a:extLst>
              <a:ext uri="{FF2B5EF4-FFF2-40B4-BE49-F238E27FC236}">
                <a16:creationId xmlns:a16="http://schemas.microsoft.com/office/drawing/2014/main" id="{2B046BA5-A8F0-CF1F-FC32-5CEE8932F84F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511361" y="1696471"/>
            <a:ext cx="5304654" cy="6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2400" b="0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935234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6F5C343-3E88-926E-8179-ECDDCAC7AC43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340498" y="803544"/>
            <a:chExt cx="673644" cy="673644"/>
          </a:xfrm>
        </p:grpSpPr>
        <p:sp>
          <p:nvSpPr>
            <p:cNvPr id="16" name="Rounded Rectangle 112">
              <a:extLst>
                <a:ext uri="{FF2B5EF4-FFF2-40B4-BE49-F238E27FC236}">
                  <a16:creationId xmlns:a16="http://schemas.microsoft.com/office/drawing/2014/main" id="{85E389C9-D945-C20A-B42A-64CE01686A05}"/>
                </a:ext>
              </a:extLst>
            </p:cNvPr>
            <p:cNvSpPr/>
            <p:nvPr userDrawn="1"/>
          </p:nvSpPr>
          <p:spPr>
            <a:xfrm>
              <a:off x="340498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1A42D6-9295-A6F9-2909-5C201B4074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6108" y="899252"/>
              <a:ext cx="332563" cy="492275"/>
            </a:xfrm>
            <a:custGeom>
              <a:avLst/>
              <a:gdLst>
                <a:gd name="T0" fmla="*/ 492 w 1090"/>
                <a:gd name="T1" fmla="*/ 35 h 1615"/>
                <a:gd name="T2" fmla="*/ 21 w 1090"/>
                <a:gd name="T3" fmla="*/ 502 h 1615"/>
                <a:gd name="T4" fmla="*/ 198 w 1090"/>
                <a:gd name="T5" fmla="*/ 970 h 1615"/>
                <a:gd name="T6" fmla="*/ 198 w 1090"/>
                <a:gd name="T7" fmla="*/ 1054 h 1615"/>
                <a:gd name="T8" fmla="*/ 323 w 1090"/>
                <a:gd name="T9" fmla="*/ 1268 h 1615"/>
                <a:gd name="T10" fmla="*/ 323 w 1090"/>
                <a:gd name="T11" fmla="*/ 1395 h 1615"/>
                <a:gd name="T12" fmla="*/ 442 w 1090"/>
                <a:gd name="T13" fmla="*/ 1513 h 1615"/>
                <a:gd name="T14" fmla="*/ 476 w 1090"/>
                <a:gd name="T15" fmla="*/ 1513 h 1615"/>
                <a:gd name="T16" fmla="*/ 476 w 1090"/>
                <a:gd name="T17" fmla="*/ 1538 h 1615"/>
                <a:gd name="T18" fmla="*/ 553 w 1090"/>
                <a:gd name="T19" fmla="*/ 1615 h 1615"/>
                <a:gd name="T20" fmla="*/ 554 w 1090"/>
                <a:gd name="T21" fmla="*/ 1615 h 1615"/>
                <a:gd name="T22" fmla="*/ 631 w 1090"/>
                <a:gd name="T23" fmla="*/ 1538 h 1615"/>
                <a:gd name="T24" fmla="*/ 631 w 1090"/>
                <a:gd name="T25" fmla="*/ 1513 h 1615"/>
                <a:gd name="T26" fmla="*/ 665 w 1090"/>
                <a:gd name="T27" fmla="*/ 1513 h 1615"/>
                <a:gd name="T28" fmla="*/ 784 w 1090"/>
                <a:gd name="T29" fmla="*/ 1395 h 1615"/>
                <a:gd name="T30" fmla="*/ 784 w 1090"/>
                <a:gd name="T31" fmla="*/ 1268 h 1615"/>
                <a:gd name="T32" fmla="*/ 909 w 1090"/>
                <a:gd name="T33" fmla="*/ 1054 h 1615"/>
                <a:gd name="T34" fmla="*/ 909 w 1090"/>
                <a:gd name="T35" fmla="*/ 970 h 1615"/>
                <a:gd name="T36" fmla="*/ 1090 w 1090"/>
                <a:gd name="T37" fmla="*/ 569 h 1615"/>
                <a:gd name="T38" fmla="*/ 492 w 1090"/>
                <a:gd name="T39" fmla="*/ 35 h 1615"/>
                <a:gd name="T40" fmla="*/ 653 w 1090"/>
                <a:gd name="T41" fmla="*/ 703 h 1615"/>
                <a:gd name="T42" fmla="*/ 653 w 1090"/>
                <a:gd name="T43" fmla="*/ 1186 h 1615"/>
                <a:gd name="T44" fmla="*/ 454 w 1090"/>
                <a:gd name="T45" fmla="*/ 1186 h 1615"/>
                <a:gd name="T46" fmla="*/ 454 w 1090"/>
                <a:gd name="T47" fmla="*/ 703 h 1615"/>
                <a:gd name="T48" fmla="*/ 653 w 1090"/>
                <a:gd name="T49" fmla="*/ 703 h 1615"/>
                <a:gd name="T50" fmla="*/ 816 w 1090"/>
                <a:gd name="T51" fmla="*/ 899 h 1615"/>
                <a:gd name="T52" fmla="*/ 794 w 1090"/>
                <a:gd name="T53" fmla="*/ 916 h 1615"/>
                <a:gd name="T54" fmla="*/ 794 w 1090"/>
                <a:gd name="T55" fmla="*/ 1054 h 1615"/>
                <a:gd name="T56" fmla="*/ 710 w 1090"/>
                <a:gd name="T57" fmla="*/ 1177 h 1615"/>
                <a:gd name="T58" fmla="*/ 710 w 1090"/>
                <a:gd name="T59" fmla="*/ 703 h 1615"/>
                <a:gd name="T60" fmla="*/ 731 w 1090"/>
                <a:gd name="T61" fmla="*/ 703 h 1615"/>
                <a:gd name="T62" fmla="*/ 816 w 1090"/>
                <a:gd name="T63" fmla="*/ 618 h 1615"/>
                <a:gd name="T64" fmla="*/ 816 w 1090"/>
                <a:gd name="T65" fmla="*/ 573 h 1615"/>
                <a:gd name="T66" fmla="*/ 731 w 1090"/>
                <a:gd name="T67" fmla="*/ 488 h 1615"/>
                <a:gd name="T68" fmla="*/ 376 w 1090"/>
                <a:gd name="T69" fmla="*/ 488 h 1615"/>
                <a:gd name="T70" fmla="*/ 291 w 1090"/>
                <a:gd name="T71" fmla="*/ 573 h 1615"/>
                <a:gd name="T72" fmla="*/ 291 w 1090"/>
                <a:gd name="T73" fmla="*/ 618 h 1615"/>
                <a:gd name="T74" fmla="*/ 376 w 1090"/>
                <a:gd name="T75" fmla="*/ 703 h 1615"/>
                <a:gd name="T76" fmla="*/ 397 w 1090"/>
                <a:gd name="T77" fmla="*/ 703 h 1615"/>
                <a:gd name="T78" fmla="*/ 397 w 1090"/>
                <a:gd name="T79" fmla="*/ 1177 h 1615"/>
                <a:gd name="T80" fmla="*/ 313 w 1090"/>
                <a:gd name="T81" fmla="*/ 1054 h 1615"/>
                <a:gd name="T82" fmla="*/ 313 w 1090"/>
                <a:gd name="T83" fmla="*/ 916 h 1615"/>
                <a:gd name="T84" fmla="*/ 292 w 1090"/>
                <a:gd name="T85" fmla="*/ 899 h 1615"/>
                <a:gd name="T86" fmla="*/ 135 w 1090"/>
                <a:gd name="T87" fmla="*/ 516 h 1615"/>
                <a:gd name="T88" fmla="*/ 505 w 1090"/>
                <a:gd name="T89" fmla="*/ 150 h 1615"/>
                <a:gd name="T90" fmla="*/ 554 w 1090"/>
                <a:gd name="T91" fmla="*/ 147 h 1615"/>
                <a:gd name="T92" fmla="*/ 975 w 1090"/>
                <a:gd name="T93" fmla="*/ 569 h 1615"/>
                <a:gd name="T94" fmla="*/ 816 w 1090"/>
                <a:gd name="T95" fmla="*/ 899 h 1615"/>
                <a:gd name="T96" fmla="*/ 816 w 1090"/>
                <a:gd name="T97" fmla="*/ 899 h 1615"/>
                <a:gd name="T98" fmla="*/ 816 w 1090"/>
                <a:gd name="T99" fmla="*/ 899 h 1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0" h="1615">
                  <a:moveTo>
                    <a:pt x="492" y="35"/>
                  </a:moveTo>
                  <a:cubicBezTo>
                    <a:pt x="249" y="62"/>
                    <a:pt x="50" y="259"/>
                    <a:pt x="21" y="502"/>
                  </a:cubicBezTo>
                  <a:cubicBezTo>
                    <a:pt x="0" y="680"/>
                    <a:pt x="66" y="853"/>
                    <a:pt x="198" y="970"/>
                  </a:cubicBezTo>
                  <a:cubicBezTo>
                    <a:pt x="198" y="1054"/>
                    <a:pt x="198" y="1054"/>
                    <a:pt x="198" y="1054"/>
                  </a:cubicBezTo>
                  <a:cubicBezTo>
                    <a:pt x="198" y="1146"/>
                    <a:pt x="249" y="1225"/>
                    <a:pt x="323" y="1268"/>
                  </a:cubicBezTo>
                  <a:cubicBezTo>
                    <a:pt x="323" y="1395"/>
                    <a:pt x="323" y="1395"/>
                    <a:pt x="323" y="1395"/>
                  </a:cubicBezTo>
                  <a:cubicBezTo>
                    <a:pt x="323" y="1460"/>
                    <a:pt x="376" y="1513"/>
                    <a:pt x="442" y="1513"/>
                  </a:cubicBezTo>
                  <a:cubicBezTo>
                    <a:pt x="476" y="1513"/>
                    <a:pt x="476" y="1513"/>
                    <a:pt x="476" y="1513"/>
                  </a:cubicBezTo>
                  <a:cubicBezTo>
                    <a:pt x="476" y="1538"/>
                    <a:pt x="476" y="1538"/>
                    <a:pt x="476" y="1538"/>
                  </a:cubicBezTo>
                  <a:cubicBezTo>
                    <a:pt x="476" y="1580"/>
                    <a:pt x="510" y="1615"/>
                    <a:pt x="553" y="1615"/>
                  </a:cubicBezTo>
                  <a:cubicBezTo>
                    <a:pt x="554" y="1615"/>
                    <a:pt x="554" y="1615"/>
                    <a:pt x="554" y="1615"/>
                  </a:cubicBezTo>
                  <a:cubicBezTo>
                    <a:pt x="597" y="1615"/>
                    <a:pt x="631" y="1580"/>
                    <a:pt x="631" y="1538"/>
                  </a:cubicBezTo>
                  <a:cubicBezTo>
                    <a:pt x="631" y="1513"/>
                    <a:pt x="631" y="1513"/>
                    <a:pt x="631" y="1513"/>
                  </a:cubicBezTo>
                  <a:cubicBezTo>
                    <a:pt x="665" y="1513"/>
                    <a:pt x="665" y="1513"/>
                    <a:pt x="665" y="1513"/>
                  </a:cubicBezTo>
                  <a:cubicBezTo>
                    <a:pt x="731" y="1513"/>
                    <a:pt x="784" y="1460"/>
                    <a:pt x="784" y="1395"/>
                  </a:cubicBezTo>
                  <a:cubicBezTo>
                    <a:pt x="784" y="1268"/>
                    <a:pt x="784" y="1268"/>
                    <a:pt x="784" y="1268"/>
                  </a:cubicBezTo>
                  <a:cubicBezTo>
                    <a:pt x="858" y="1225"/>
                    <a:pt x="909" y="1146"/>
                    <a:pt x="909" y="1054"/>
                  </a:cubicBezTo>
                  <a:cubicBezTo>
                    <a:pt x="909" y="970"/>
                    <a:pt x="909" y="970"/>
                    <a:pt x="909" y="970"/>
                  </a:cubicBezTo>
                  <a:cubicBezTo>
                    <a:pt x="1024" y="868"/>
                    <a:pt x="1090" y="723"/>
                    <a:pt x="1090" y="569"/>
                  </a:cubicBezTo>
                  <a:cubicBezTo>
                    <a:pt x="1090" y="252"/>
                    <a:pt x="815" y="0"/>
                    <a:pt x="492" y="35"/>
                  </a:cubicBezTo>
                  <a:close/>
                  <a:moveTo>
                    <a:pt x="653" y="703"/>
                  </a:moveTo>
                  <a:cubicBezTo>
                    <a:pt x="653" y="1186"/>
                    <a:pt x="653" y="1186"/>
                    <a:pt x="653" y="1186"/>
                  </a:cubicBezTo>
                  <a:cubicBezTo>
                    <a:pt x="454" y="1186"/>
                    <a:pt x="454" y="1186"/>
                    <a:pt x="454" y="1186"/>
                  </a:cubicBezTo>
                  <a:cubicBezTo>
                    <a:pt x="454" y="703"/>
                    <a:pt x="454" y="703"/>
                    <a:pt x="454" y="703"/>
                  </a:cubicBezTo>
                  <a:lnTo>
                    <a:pt x="653" y="703"/>
                  </a:lnTo>
                  <a:close/>
                  <a:moveTo>
                    <a:pt x="816" y="899"/>
                  </a:moveTo>
                  <a:cubicBezTo>
                    <a:pt x="794" y="916"/>
                    <a:pt x="794" y="916"/>
                    <a:pt x="794" y="916"/>
                  </a:cubicBezTo>
                  <a:cubicBezTo>
                    <a:pt x="794" y="1054"/>
                    <a:pt x="794" y="1054"/>
                    <a:pt x="794" y="1054"/>
                  </a:cubicBezTo>
                  <a:cubicBezTo>
                    <a:pt x="794" y="1110"/>
                    <a:pt x="759" y="1157"/>
                    <a:pt x="710" y="1177"/>
                  </a:cubicBezTo>
                  <a:cubicBezTo>
                    <a:pt x="710" y="703"/>
                    <a:pt x="710" y="703"/>
                    <a:pt x="710" y="703"/>
                  </a:cubicBezTo>
                  <a:cubicBezTo>
                    <a:pt x="731" y="703"/>
                    <a:pt x="731" y="703"/>
                    <a:pt x="731" y="703"/>
                  </a:cubicBezTo>
                  <a:cubicBezTo>
                    <a:pt x="778" y="703"/>
                    <a:pt x="816" y="665"/>
                    <a:pt x="816" y="618"/>
                  </a:cubicBezTo>
                  <a:cubicBezTo>
                    <a:pt x="816" y="573"/>
                    <a:pt x="816" y="573"/>
                    <a:pt x="816" y="573"/>
                  </a:cubicBezTo>
                  <a:cubicBezTo>
                    <a:pt x="816" y="526"/>
                    <a:pt x="778" y="488"/>
                    <a:pt x="731" y="488"/>
                  </a:cubicBezTo>
                  <a:cubicBezTo>
                    <a:pt x="376" y="488"/>
                    <a:pt x="376" y="488"/>
                    <a:pt x="376" y="488"/>
                  </a:cubicBezTo>
                  <a:cubicBezTo>
                    <a:pt x="329" y="488"/>
                    <a:pt x="291" y="526"/>
                    <a:pt x="291" y="573"/>
                  </a:cubicBezTo>
                  <a:cubicBezTo>
                    <a:pt x="291" y="618"/>
                    <a:pt x="291" y="618"/>
                    <a:pt x="291" y="618"/>
                  </a:cubicBezTo>
                  <a:cubicBezTo>
                    <a:pt x="291" y="665"/>
                    <a:pt x="329" y="703"/>
                    <a:pt x="376" y="703"/>
                  </a:cubicBezTo>
                  <a:cubicBezTo>
                    <a:pt x="397" y="703"/>
                    <a:pt x="397" y="703"/>
                    <a:pt x="397" y="703"/>
                  </a:cubicBezTo>
                  <a:cubicBezTo>
                    <a:pt x="397" y="1177"/>
                    <a:pt x="397" y="1177"/>
                    <a:pt x="397" y="1177"/>
                  </a:cubicBezTo>
                  <a:cubicBezTo>
                    <a:pt x="348" y="1157"/>
                    <a:pt x="313" y="1110"/>
                    <a:pt x="313" y="1054"/>
                  </a:cubicBezTo>
                  <a:cubicBezTo>
                    <a:pt x="313" y="916"/>
                    <a:pt x="313" y="916"/>
                    <a:pt x="313" y="916"/>
                  </a:cubicBezTo>
                  <a:cubicBezTo>
                    <a:pt x="292" y="899"/>
                    <a:pt x="292" y="899"/>
                    <a:pt x="292" y="899"/>
                  </a:cubicBezTo>
                  <a:cubicBezTo>
                    <a:pt x="176" y="806"/>
                    <a:pt x="117" y="663"/>
                    <a:pt x="135" y="516"/>
                  </a:cubicBezTo>
                  <a:cubicBezTo>
                    <a:pt x="158" y="325"/>
                    <a:pt x="314" y="171"/>
                    <a:pt x="505" y="150"/>
                  </a:cubicBezTo>
                  <a:cubicBezTo>
                    <a:pt x="521" y="148"/>
                    <a:pt x="538" y="147"/>
                    <a:pt x="554" y="147"/>
                  </a:cubicBezTo>
                  <a:cubicBezTo>
                    <a:pt x="786" y="147"/>
                    <a:pt x="975" y="336"/>
                    <a:pt x="975" y="569"/>
                  </a:cubicBezTo>
                  <a:cubicBezTo>
                    <a:pt x="975" y="698"/>
                    <a:pt x="917" y="818"/>
                    <a:pt x="816" y="899"/>
                  </a:cubicBezTo>
                  <a:close/>
                  <a:moveTo>
                    <a:pt x="816" y="899"/>
                  </a:moveTo>
                  <a:cubicBezTo>
                    <a:pt x="816" y="899"/>
                    <a:pt x="816" y="899"/>
                    <a:pt x="816" y="89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2BF84BB-09C0-ECF0-8024-1BF69AB4114E}"/>
              </a:ext>
            </a:extLst>
          </p:cNvPr>
          <p:cNvSpPr txBox="1"/>
          <p:nvPr userDrawn="1"/>
        </p:nvSpPr>
        <p:spPr>
          <a:xfrm>
            <a:off x="1340615" y="786716"/>
            <a:ext cx="3108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Value of the Month – Others Mentioned </a:t>
            </a:r>
          </a:p>
        </p:txBody>
      </p:sp>
      <p:sp>
        <p:nvSpPr>
          <p:cNvPr id="9" name="Google Shape;83;g9a74927944_2_2">
            <a:extLst>
              <a:ext uri="{FF2B5EF4-FFF2-40B4-BE49-F238E27FC236}">
                <a16:creationId xmlns:a16="http://schemas.microsoft.com/office/drawing/2014/main" id="{855DB979-7E7A-BC83-D412-82509BD99A40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511361" y="1696471"/>
            <a:ext cx="5304654" cy="6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2400" b="0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B3538C-6650-CC34-078C-6C2BEE1F584B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Google Shape;32;p25">
            <a:extLst>
              <a:ext uri="{FF2B5EF4-FFF2-40B4-BE49-F238E27FC236}">
                <a16:creationId xmlns:a16="http://schemas.microsoft.com/office/drawing/2014/main" id="{91ED4409-22C5-19EA-7A5D-D558BFE54E57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136A99F-1DB7-942E-0F30-629230D7ECC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018307"/>
            <a:ext cx="5304655" cy="2983798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81763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1B36C1B-63E3-94FA-D6D0-DDED2E81B758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32;p25">
            <a:extLst>
              <a:ext uri="{FF2B5EF4-FFF2-40B4-BE49-F238E27FC236}">
                <a16:creationId xmlns:a16="http://schemas.microsoft.com/office/drawing/2014/main" id="{2296D345-CE81-8AB9-0CA6-0421CD63650B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87537D2-4F23-0612-6F7E-90D2F7EA905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784113"/>
            <a:ext cx="5304655" cy="221799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Google Shape;46;p28">
            <a:extLst>
              <a:ext uri="{FF2B5EF4-FFF2-40B4-BE49-F238E27FC236}">
                <a16:creationId xmlns:a16="http://schemas.microsoft.com/office/drawing/2014/main" id="{64C8DA48-2EA4-D123-72BD-69EBC69A896D}"/>
              </a:ext>
            </a:extLst>
          </p:cNvPr>
          <p:cNvSpPr txBox="1">
            <a:spLocks noGrp="1"/>
          </p:cNvSpPr>
          <p:nvPr>
            <p:ph type="body" idx="19"/>
          </p:nvPr>
        </p:nvSpPr>
        <p:spPr>
          <a:xfrm>
            <a:off x="511359" y="3120823"/>
            <a:ext cx="5304655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40" bIns="45700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  <a:latin typeface="+mj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B0613B-31E4-A6B4-8E11-5AA82074DE1E}"/>
              </a:ext>
            </a:extLst>
          </p:cNvPr>
          <p:cNvSpPr txBox="1"/>
          <p:nvPr userDrawn="1"/>
        </p:nvSpPr>
        <p:spPr>
          <a:xfrm>
            <a:off x="1340615" y="786716"/>
            <a:ext cx="3108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Most Great Surveys Last Month –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E3213AA-0066-30F3-7A44-575727244807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511361" y="803544"/>
            <a:chExt cx="673644" cy="673644"/>
          </a:xfrm>
        </p:grpSpPr>
        <p:sp>
          <p:nvSpPr>
            <p:cNvPr id="10" name="Rounded Rectangle 112">
              <a:extLst>
                <a:ext uri="{FF2B5EF4-FFF2-40B4-BE49-F238E27FC236}">
                  <a16:creationId xmlns:a16="http://schemas.microsoft.com/office/drawing/2014/main" id="{7189A394-A066-3C42-AF28-6F1BFB6183C9}"/>
                </a:ext>
              </a:extLst>
            </p:cNvPr>
            <p:cNvSpPr/>
            <p:nvPr userDrawn="1"/>
          </p:nvSpPr>
          <p:spPr>
            <a:xfrm>
              <a:off x="511361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33CB923-B0D6-E188-B914-96DB8ACDCC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3718" y="940377"/>
              <a:ext cx="335140" cy="410126"/>
            </a:xfrm>
            <a:custGeom>
              <a:avLst/>
              <a:gdLst>
                <a:gd name="T0" fmla="*/ 93 w 182"/>
                <a:gd name="T1" fmla="*/ 16 h 224"/>
                <a:gd name="T2" fmla="*/ 88 w 182"/>
                <a:gd name="T3" fmla="*/ 16 h 224"/>
                <a:gd name="T4" fmla="*/ 83 w 182"/>
                <a:gd name="T5" fmla="*/ 11 h 224"/>
                <a:gd name="T6" fmla="*/ 83 w 182"/>
                <a:gd name="T7" fmla="*/ 11 h 224"/>
                <a:gd name="T8" fmla="*/ 72 w 182"/>
                <a:gd name="T9" fmla="*/ 0 h 224"/>
                <a:gd name="T10" fmla="*/ 72 w 182"/>
                <a:gd name="T11" fmla="*/ 0 h 224"/>
                <a:gd name="T12" fmla="*/ 61 w 182"/>
                <a:gd name="T13" fmla="*/ 11 h 224"/>
                <a:gd name="T14" fmla="*/ 61 w 182"/>
                <a:gd name="T15" fmla="*/ 11 h 224"/>
                <a:gd name="T16" fmla="*/ 56 w 182"/>
                <a:gd name="T17" fmla="*/ 16 h 224"/>
                <a:gd name="T18" fmla="*/ 51 w 182"/>
                <a:gd name="T19" fmla="*/ 16 h 224"/>
                <a:gd name="T20" fmla="*/ 42 w 182"/>
                <a:gd name="T21" fmla="*/ 25 h 224"/>
                <a:gd name="T22" fmla="*/ 42 w 182"/>
                <a:gd name="T23" fmla="*/ 26 h 224"/>
                <a:gd name="T24" fmla="*/ 51 w 182"/>
                <a:gd name="T25" fmla="*/ 35 h 224"/>
                <a:gd name="T26" fmla="*/ 93 w 182"/>
                <a:gd name="T27" fmla="*/ 35 h 224"/>
                <a:gd name="T28" fmla="*/ 102 w 182"/>
                <a:gd name="T29" fmla="*/ 26 h 224"/>
                <a:gd name="T30" fmla="*/ 102 w 182"/>
                <a:gd name="T31" fmla="*/ 25 h 224"/>
                <a:gd name="T32" fmla="*/ 93 w 182"/>
                <a:gd name="T33" fmla="*/ 16 h 224"/>
                <a:gd name="T34" fmla="*/ 72 w 182"/>
                <a:gd name="T35" fmla="*/ 16 h 224"/>
                <a:gd name="T36" fmla="*/ 67 w 182"/>
                <a:gd name="T37" fmla="*/ 11 h 224"/>
                <a:gd name="T38" fmla="*/ 72 w 182"/>
                <a:gd name="T39" fmla="*/ 6 h 224"/>
                <a:gd name="T40" fmla="*/ 77 w 182"/>
                <a:gd name="T41" fmla="*/ 11 h 224"/>
                <a:gd name="T42" fmla="*/ 72 w 182"/>
                <a:gd name="T43" fmla="*/ 16 h 224"/>
                <a:gd name="T44" fmla="*/ 93 w 182"/>
                <a:gd name="T45" fmla="*/ 202 h 224"/>
                <a:gd name="T46" fmla="*/ 13 w 182"/>
                <a:gd name="T47" fmla="*/ 202 h 224"/>
                <a:gd name="T48" fmla="*/ 0 w 182"/>
                <a:gd name="T49" fmla="*/ 189 h 224"/>
                <a:gd name="T50" fmla="*/ 0 w 182"/>
                <a:gd name="T51" fmla="*/ 35 h 224"/>
                <a:gd name="T52" fmla="*/ 10 w 182"/>
                <a:gd name="T53" fmla="*/ 22 h 224"/>
                <a:gd name="T54" fmla="*/ 36 w 182"/>
                <a:gd name="T55" fmla="*/ 22 h 224"/>
                <a:gd name="T56" fmla="*/ 35 w 182"/>
                <a:gd name="T57" fmla="*/ 26 h 224"/>
                <a:gd name="T58" fmla="*/ 51 w 182"/>
                <a:gd name="T59" fmla="*/ 42 h 224"/>
                <a:gd name="T60" fmla="*/ 93 w 182"/>
                <a:gd name="T61" fmla="*/ 42 h 224"/>
                <a:gd name="T62" fmla="*/ 109 w 182"/>
                <a:gd name="T63" fmla="*/ 25 h 224"/>
                <a:gd name="T64" fmla="*/ 108 w 182"/>
                <a:gd name="T65" fmla="*/ 22 h 224"/>
                <a:gd name="T66" fmla="*/ 128 w 182"/>
                <a:gd name="T67" fmla="*/ 22 h 224"/>
                <a:gd name="T68" fmla="*/ 144 w 182"/>
                <a:gd name="T69" fmla="*/ 35 h 224"/>
                <a:gd name="T70" fmla="*/ 144 w 182"/>
                <a:gd name="T71" fmla="*/ 131 h 224"/>
                <a:gd name="T72" fmla="*/ 141 w 182"/>
                <a:gd name="T73" fmla="*/ 131 h 224"/>
                <a:gd name="T74" fmla="*/ 128 w 182"/>
                <a:gd name="T75" fmla="*/ 133 h 224"/>
                <a:gd name="T76" fmla="*/ 128 w 182"/>
                <a:gd name="T77" fmla="*/ 58 h 224"/>
                <a:gd name="T78" fmla="*/ 16 w 182"/>
                <a:gd name="T79" fmla="*/ 58 h 224"/>
                <a:gd name="T80" fmla="*/ 16 w 182"/>
                <a:gd name="T81" fmla="*/ 186 h 224"/>
                <a:gd name="T82" fmla="*/ 90 w 182"/>
                <a:gd name="T83" fmla="*/ 186 h 224"/>
                <a:gd name="T84" fmla="*/ 93 w 182"/>
                <a:gd name="T85" fmla="*/ 202 h 224"/>
                <a:gd name="T86" fmla="*/ 141 w 182"/>
                <a:gd name="T87" fmla="*/ 141 h 224"/>
                <a:gd name="T88" fmla="*/ 99 w 182"/>
                <a:gd name="T89" fmla="*/ 182 h 224"/>
                <a:gd name="T90" fmla="*/ 141 w 182"/>
                <a:gd name="T91" fmla="*/ 224 h 224"/>
                <a:gd name="T92" fmla="*/ 182 w 182"/>
                <a:gd name="T93" fmla="*/ 182 h 224"/>
                <a:gd name="T94" fmla="*/ 141 w 182"/>
                <a:gd name="T95" fmla="*/ 141 h 224"/>
                <a:gd name="T96" fmla="*/ 168 w 182"/>
                <a:gd name="T97" fmla="*/ 174 h 224"/>
                <a:gd name="T98" fmla="*/ 142 w 182"/>
                <a:gd name="T99" fmla="*/ 203 h 224"/>
                <a:gd name="T100" fmla="*/ 138 w 182"/>
                <a:gd name="T101" fmla="*/ 205 h 224"/>
                <a:gd name="T102" fmla="*/ 134 w 182"/>
                <a:gd name="T103" fmla="*/ 203 h 224"/>
                <a:gd name="T104" fmla="*/ 118 w 182"/>
                <a:gd name="T105" fmla="*/ 191 h 224"/>
                <a:gd name="T106" fmla="*/ 117 w 182"/>
                <a:gd name="T107" fmla="*/ 182 h 224"/>
                <a:gd name="T108" fmla="*/ 126 w 182"/>
                <a:gd name="T109" fmla="*/ 181 h 224"/>
                <a:gd name="T110" fmla="*/ 137 w 182"/>
                <a:gd name="T111" fmla="*/ 190 h 224"/>
                <a:gd name="T112" fmla="*/ 158 w 182"/>
                <a:gd name="T113" fmla="*/ 165 h 224"/>
                <a:gd name="T114" fmla="*/ 167 w 182"/>
                <a:gd name="T115" fmla="*/ 165 h 224"/>
                <a:gd name="T116" fmla="*/ 168 w 182"/>
                <a:gd name="T117" fmla="*/ 174 h 224"/>
                <a:gd name="T118" fmla="*/ 168 w 182"/>
                <a:gd name="T119" fmla="*/ 174 h 224"/>
                <a:gd name="T120" fmla="*/ 168 w 182"/>
                <a:gd name="T121" fmla="*/ 17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" h="224">
                  <a:moveTo>
                    <a:pt x="93" y="16"/>
                  </a:moveTo>
                  <a:cubicBezTo>
                    <a:pt x="88" y="16"/>
                    <a:pt x="88" y="16"/>
                    <a:pt x="88" y="16"/>
                  </a:cubicBezTo>
                  <a:cubicBezTo>
                    <a:pt x="85" y="16"/>
                    <a:pt x="83" y="14"/>
                    <a:pt x="83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5"/>
                    <a:pt x="78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6" y="0"/>
                    <a:pt x="61" y="5"/>
                    <a:pt x="61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1" y="14"/>
                    <a:pt x="59" y="16"/>
                    <a:pt x="56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46" y="16"/>
                    <a:pt x="42" y="20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31"/>
                    <a:pt x="46" y="35"/>
                    <a:pt x="51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8" y="35"/>
                    <a:pt x="102" y="31"/>
                    <a:pt x="102" y="26"/>
                  </a:cubicBezTo>
                  <a:cubicBezTo>
                    <a:pt x="102" y="25"/>
                    <a:pt x="102" y="25"/>
                    <a:pt x="102" y="25"/>
                  </a:cubicBezTo>
                  <a:cubicBezTo>
                    <a:pt x="102" y="20"/>
                    <a:pt x="98" y="16"/>
                    <a:pt x="93" y="16"/>
                  </a:cubicBezTo>
                  <a:close/>
                  <a:moveTo>
                    <a:pt x="72" y="16"/>
                  </a:moveTo>
                  <a:cubicBezTo>
                    <a:pt x="69" y="16"/>
                    <a:pt x="67" y="14"/>
                    <a:pt x="67" y="11"/>
                  </a:cubicBezTo>
                  <a:cubicBezTo>
                    <a:pt x="67" y="9"/>
                    <a:pt x="69" y="6"/>
                    <a:pt x="72" y="6"/>
                  </a:cubicBezTo>
                  <a:cubicBezTo>
                    <a:pt x="75" y="6"/>
                    <a:pt x="77" y="9"/>
                    <a:pt x="77" y="11"/>
                  </a:cubicBezTo>
                  <a:cubicBezTo>
                    <a:pt x="77" y="14"/>
                    <a:pt x="75" y="16"/>
                    <a:pt x="72" y="16"/>
                  </a:cubicBezTo>
                  <a:close/>
                  <a:moveTo>
                    <a:pt x="93" y="202"/>
                  </a:moveTo>
                  <a:cubicBezTo>
                    <a:pt x="13" y="202"/>
                    <a:pt x="13" y="202"/>
                    <a:pt x="13" y="202"/>
                  </a:cubicBezTo>
                  <a:cubicBezTo>
                    <a:pt x="6" y="202"/>
                    <a:pt x="0" y="196"/>
                    <a:pt x="0" y="189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28"/>
                    <a:pt x="6" y="22"/>
                    <a:pt x="10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3"/>
                    <a:pt x="35" y="25"/>
                    <a:pt x="35" y="26"/>
                  </a:cubicBezTo>
                  <a:cubicBezTo>
                    <a:pt x="35" y="34"/>
                    <a:pt x="42" y="42"/>
                    <a:pt x="51" y="42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102" y="42"/>
                    <a:pt x="109" y="34"/>
                    <a:pt x="109" y="25"/>
                  </a:cubicBezTo>
                  <a:cubicBezTo>
                    <a:pt x="109" y="24"/>
                    <a:pt x="109" y="23"/>
                    <a:pt x="108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38" y="22"/>
                    <a:pt x="144" y="28"/>
                    <a:pt x="144" y="35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3" y="131"/>
                    <a:pt x="142" y="131"/>
                    <a:pt x="141" y="131"/>
                  </a:cubicBezTo>
                  <a:cubicBezTo>
                    <a:pt x="136" y="131"/>
                    <a:pt x="132" y="132"/>
                    <a:pt x="128" y="133"/>
                  </a:cubicBezTo>
                  <a:cubicBezTo>
                    <a:pt x="128" y="58"/>
                    <a:pt x="128" y="58"/>
                    <a:pt x="128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186"/>
                    <a:pt x="16" y="186"/>
                    <a:pt x="16" y="186"/>
                  </a:cubicBezTo>
                  <a:cubicBezTo>
                    <a:pt x="90" y="186"/>
                    <a:pt x="90" y="186"/>
                    <a:pt x="90" y="186"/>
                  </a:cubicBezTo>
                  <a:cubicBezTo>
                    <a:pt x="90" y="191"/>
                    <a:pt x="91" y="197"/>
                    <a:pt x="93" y="202"/>
                  </a:cubicBezTo>
                  <a:close/>
                  <a:moveTo>
                    <a:pt x="141" y="141"/>
                  </a:moveTo>
                  <a:cubicBezTo>
                    <a:pt x="118" y="141"/>
                    <a:pt x="99" y="159"/>
                    <a:pt x="99" y="182"/>
                  </a:cubicBezTo>
                  <a:cubicBezTo>
                    <a:pt x="99" y="205"/>
                    <a:pt x="118" y="224"/>
                    <a:pt x="141" y="224"/>
                  </a:cubicBezTo>
                  <a:cubicBezTo>
                    <a:pt x="164" y="224"/>
                    <a:pt x="182" y="205"/>
                    <a:pt x="182" y="182"/>
                  </a:cubicBezTo>
                  <a:cubicBezTo>
                    <a:pt x="182" y="159"/>
                    <a:pt x="164" y="141"/>
                    <a:pt x="141" y="141"/>
                  </a:cubicBezTo>
                  <a:close/>
                  <a:moveTo>
                    <a:pt x="168" y="174"/>
                  </a:moveTo>
                  <a:cubicBezTo>
                    <a:pt x="142" y="203"/>
                    <a:pt x="142" y="203"/>
                    <a:pt x="142" y="203"/>
                  </a:cubicBezTo>
                  <a:cubicBezTo>
                    <a:pt x="141" y="204"/>
                    <a:pt x="139" y="205"/>
                    <a:pt x="138" y="205"/>
                  </a:cubicBezTo>
                  <a:cubicBezTo>
                    <a:pt x="136" y="205"/>
                    <a:pt x="135" y="204"/>
                    <a:pt x="134" y="203"/>
                  </a:cubicBezTo>
                  <a:cubicBezTo>
                    <a:pt x="118" y="191"/>
                    <a:pt x="118" y="191"/>
                    <a:pt x="118" y="191"/>
                  </a:cubicBezTo>
                  <a:cubicBezTo>
                    <a:pt x="115" y="188"/>
                    <a:pt x="114" y="184"/>
                    <a:pt x="117" y="182"/>
                  </a:cubicBezTo>
                  <a:cubicBezTo>
                    <a:pt x="119" y="179"/>
                    <a:pt x="123" y="178"/>
                    <a:pt x="126" y="181"/>
                  </a:cubicBezTo>
                  <a:cubicBezTo>
                    <a:pt x="137" y="190"/>
                    <a:pt x="137" y="190"/>
                    <a:pt x="137" y="190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1" y="163"/>
                    <a:pt x="165" y="162"/>
                    <a:pt x="167" y="165"/>
                  </a:cubicBezTo>
                  <a:cubicBezTo>
                    <a:pt x="170" y="167"/>
                    <a:pt x="170" y="171"/>
                    <a:pt x="168" y="174"/>
                  </a:cubicBezTo>
                  <a:close/>
                  <a:moveTo>
                    <a:pt x="168" y="174"/>
                  </a:moveTo>
                  <a:cubicBezTo>
                    <a:pt x="168" y="174"/>
                    <a:pt x="168" y="174"/>
                    <a:pt x="168" y="1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id-ID" sz="6600" ker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8" name="Google Shape;83;g9a74927944_2_2">
            <a:extLst>
              <a:ext uri="{FF2B5EF4-FFF2-40B4-BE49-F238E27FC236}">
                <a16:creationId xmlns:a16="http://schemas.microsoft.com/office/drawing/2014/main" id="{409FDB7F-728B-A873-201B-A5DFCFA6664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511361" y="1696471"/>
            <a:ext cx="5304654" cy="6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2400" b="0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6073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A5280BD-C276-04F7-4458-4BE99795EBBA}"/>
              </a:ext>
            </a:extLst>
          </p:cNvPr>
          <p:cNvSpPr txBox="1"/>
          <p:nvPr userDrawn="1"/>
        </p:nvSpPr>
        <p:spPr>
          <a:xfrm>
            <a:off x="1340615" y="786716"/>
            <a:ext cx="24004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err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Tidioest</a:t>
            </a:r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 Person of the Month –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1CDA3A-361F-CAB7-8D17-28B97DA43C25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511361" y="803544"/>
            <a:chExt cx="673644" cy="673644"/>
          </a:xfrm>
        </p:grpSpPr>
        <p:sp>
          <p:nvSpPr>
            <p:cNvPr id="19" name="Rounded Rectangle 112">
              <a:extLst>
                <a:ext uri="{FF2B5EF4-FFF2-40B4-BE49-F238E27FC236}">
                  <a16:creationId xmlns:a16="http://schemas.microsoft.com/office/drawing/2014/main" id="{12912304-92D1-EB12-817F-BB9945192B30}"/>
                </a:ext>
              </a:extLst>
            </p:cNvPr>
            <p:cNvSpPr/>
            <p:nvPr userDrawn="1"/>
          </p:nvSpPr>
          <p:spPr>
            <a:xfrm>
              <a:off x="511361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55FB2B3-2BCB-DE34-8F6C-76B6802B0F64}"/>
                </a:ext>
              </a:extLst>
            </p:cNvPr>
            <p:cNvGrpSpPr/>
            <p:nvPr userDrawn="1"/>
          </p:nvGrpSpPr>
          <p:grpSpPr>
            <a:xfrm>
              <a:off x="679789" y="998381"/>
              <a:ext cx="318532" cy="319206"/>
              <a:chOff x="10483851" y="2395538"/>
              <a:chExt cx="750888" cy="752475"/>
            </a:xfrm>
            <a:solidFill>
              <a:schemeClr val="bg1"/>
            </a:solidFill>
          </p:grpSpPr>
          <p:sp>
            <p:nvSpPr>
              <p:cNvPr id="22" name="Freeform 115">
                <a:extLst>
                  <a:ext uri="{FF2B5EF4-FFF2-40B4-BE49-F238E27FC236}">
                    <a16:creationId xmlns:a16="http://schemas.microsoft.com/office/drawing/2014/main" id="{BB21D35F-6474-C528-DA5D-E1F61D4B1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09276" y="2620963"/>
                <a:ext cx="525463" cy="527050"/>
              </a:xfrm>
              <a:custGeom>
                <a:avLst/>
                <a:gdLst>
                  <a:gd name="T0" fmla="*/ 213 w 331"/>
                  <a:gd name="T1" fmla="*/ 0 h 332"/>
                  <a:gd name="T2" fmla="*/ 189 w 331"/>
                  <a:gd name="T3" fmla="*/ 0 h 332"/>
                  <a:gd name="T4" fmla="*/ 170 w 331"/>
                  <a:gd name="T5" fmla="*/ 0 h 332"/>
                  <a:gd name="T6" fmla="*/ 0 w 331"/>
                  <a:gd name="T7" fmla="*/ 0 h 332"/>
                  <a:gd name="T8" fmla="*/ 0 w 331"/>
                  <a:gd name="T9" fmla="*/ 95 h 332"/>
                  <a:gd name="T10" fmla="*/ 0 w 331"/>
                  <a:gd name="T11" fmla="*/ 114 h 332"/>
                  <a:gd name="T12" fmla="*/ 0 w 331"/>
                  <a:gd name="T13" fmla="*/ 142 h 332"/>
                  <a:gd name="T14" fmla="*/ 0 w 331"/>
                  <a:gd name="T15" fmla="*/ 256 h 332"/>
                  <a:gd name="T16" fmla="*/ 196 w 331"/>
                  <a:gd name="T17" fmla="*/ 256 h 332"/>
                  <a:gd name="T18" fmla="*/ 272 w 331"/>
                  <a:gd name="T19" fmla="*/ 332 h 332"/>
                  <a:gd name="T20" fmla="*/ 284 w 331"/>
                  <a:gd name="T21" fmla="*/ 332 h 332"/>
                  <a:gd name="T22" fmla="*/ 284 w 331"/>
                  <a:gd name="T23" fmla="*/ 256 h 332"/>
                  <a:gd name="T24" fmla="*/ 331 w 331"/>
                  <a:gd name="T25" fmla="*/ 256 h 332"/>
                  <a:gd name="T26" fmla="*/ 331 w 331"/>
                  <a:gd name="T27" fmla="*/ 0 h 332"/>
                  <a:gd name="T28" fmla="*/ 213 w 331"/>
                  <a:gd name="T29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1" h="332">
                    <a:moveTo>
                      <a:pt x="213" y="0"/>
                    </a:moveTo>
                    <a:lnTo>
                      <a:pt x="189" y="0"/>
                    </a:lnTo>
                    <a:lnTo>
                      <a:pt x="170" y="0"/>
                    </a:lnTo>
                    <a:lnTo>
                      <a:pt x="0" y="0"/>
                    </a:lnTo>
                    <a:lnTo>
                      <a:pt x="0" y="95"/>
                    </a:lnTo>
                    <a:lnTo>
                      <a:pt x="0" y="114"/>
                    </a:lnTo>
                    <a:lnTo>
                      <a:pt x="0" y="142"/>
                    </a:lnTo>
                    <a:lnTo>
                      <a:pt x="0" y="256"/>
                    </a:lnTo>
                    <a:lnTo>
                      <a:pt x="196" y="256"/>
                    </a:lnTo>
                    <a:lnTo>
                      <a:pt x="272" y="332"/>
                    </a:lnTo>
                    <a:lnTo>
                      <a:pt x="284" y="332"/>
                    </a:lnTo>
                    <a:lnTo>
                      <a:pt x="284" y="256"/>
                    </a:lnTo>
                    <a:lnTo>
                      <a:pt x="331" y="256"/>
                    </a:lnTo>
                    <a:lnTo>
                      <a:pt x="331" y="0"/>
                    </a:lnTo>
                    <a:lnTo>
                      <a:pt x="2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400"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  <p:sp>
            <p:nvSpPr>
              <p:cNvPr id="23" name="Freeform 116">
                <a:extLst>
                  <a:ext uri="{FF2B5EF4-FFF2-40B4-BE49-F238E27FC236}">
                    <a16:creationId xmlns:a16="http://schemas.microsoft.com/office/drawing/2014/main" id="{B7984966-F6E7-20E2-DD7E-F9188E8C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3851" y="2395538"/>
                <a:ext cx="525463" cy="406400"/>
              </a:xfrm>
              <a:custGeom>
                <a:avLst/>
                <a:gdLst>
                  <a:gd name="T0" fmla="*/ 312 w 331"/>
                  <a:gd name="T1" fmla="*/ 123 h 256"/>
                  <a:gd name="T2" fmla="*/ 331 w 331"/>
                  <a:gd name="T3" fmla="*/ 123 h 256"/>
                  <a:gd name="T4" fmla="*/ 331 w 331"/>
                  <a:gd name="T5" fmla="*/ 0 h 256"/>
                  <a:gd name="T6" fmla="*/ 0 w 331"/>
                  <a:gd name="T7" fmla="*/ 0 h 256"/>
                  <a:gd name="T8" fmla="*/ 0 w 331"/>
                  <a:gd name="T9" fmla="*/ 256 h 256"/>
                  <a:gd name="T10" fmla="*/ 123 w 331"/>
                  <a:gd name="T11" fmla="*/ 256 h 256"/>
                  <a:gd name="T12" fmla="*/ 123 w 331"/>
                  <a:gd name="T13" fmla="*/ 237 h 256"/>
                  <a:gd name="T14" fmla="*/ 123 w 331"/>
                  <a:gd name="T15" fmla="*/ 218 h 256"/>
                  <a:gd name="T16" fmla="*/ 123 w 331"/>
                  <a:gd name="T17" fmla="*/ 123 h 256"/>
                  <a:gd name="T18" fmla="*/ 293 w 331"/>
                  <a:gd name="T19" fmla="*/ 123 h 256"/>
                  <a:gd name="T20" fmla="*/ 312 w 331"/>
                  <a:gd name="T21" fmla="*/ 123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1" h="256">
                    <a:moveTo>
                      <a:pt x="312" y="123"/>
                    </a:moveTo>
                    <a:lnTo>
                      <a:pt x="331" y="123"/>
                    </a:lnTo>
                    <a:lnTo>
                      <a:pt x="331" y="0"/>
                    </a:lnTo>
                    <a:lnTo>
                      <a:pt x="0" y="0"/>
                    </a:lnTo>
                    <a:lnTo>
                      <a:pt x="0" y="256"/>
                    </a:lnTo>
                    <a:lnTo>
                      <a:pt x="123" y="256"/>
                    </a:lnTo>
                    <a:lnTo>
                      <a:pt x="123" y="237"/>
                    </a:lnTo>
                    <a:lnTo>
                      <a:pt x="123" y="218"/>
                    </a:lnTo>
                    <a:lnTo>
                      <a:pt x="123" y="123"/>
                    </a:lnTo>
                    <a:lnTo>
                      <a:pt x="293" y="123"/>
                    </a:lnTo>
                    <a:lnTo>
                      <a:pt x="312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400"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</p:grpSp>
      <p:sp>
        <p:nvSpPr>
          <p:cNvPr id="9" name="Google Shape;83;g9a74927944_2_2">
            <a:extLst>
              <a:ext uri="{FF2B5EF4-FFF2-40B4-BE49-F238E27FC236}">
                <a16:creationId xmlns:a16="http://schemas.microsoft.com/office/drawing/2014/main" id="{7954DEC1-8043-FAC8-353F-55238AD66539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511361" y="1696471"/>
            <a:ext cx="5304654" cy="6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2400" b="0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AD5625-FC0C-685A-9BC2-4DB42AE50C60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32;p25">
            <a:extLst>
              <a:ext uri="{FF2B5EF4-FFF2-40B4-BE49-F238E27FC236}">
                <a16:creationId xmlns:a16="http://schemas.microsoft.com/office/drawing/2014/main" id="{7547D493-AD80-8BDA-6EDA-20F06CE08A42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502C5D2-DC6A-95FD-C118-0163C77A05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784113"/>
            <a:ext cx="5304655" cy="221799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Google Shape;46;p28">
            <a:extLst>
              <a:ext uri="{FF2B5EF4-FFF2-40B4-BE49-F238E27FC236}">
                <a16:creationId xmlns:a16="http://schemas.microsoft.com/office/drawing/2014/main" id="{CB1CBCF1-2F45-1ED3-4A90-BD72F216539B}"/>
              </a:ext>
            </a:extLst>
          </p:cNvPr>
          <p:cNvSpPr txBox="1">
            <a:spLocks noGrp="1"/>
          </p:cNvSpPr>
          <p:nvPr>
            <p:ph type="body" idx="19"/>
          </p:nvPr>
        </p:nvSpPr>
        <p:spPr>
          <a:xfrm>
            <a:off x="511359" y="3120823"/>
            <a:ext cx="5304655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40" bIns="45700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  <a:latin typeface="+mj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418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!!BG_blauw2">
            <a:extLst>
              <a:ext uri="{FF2B5EF4-FFF2-40B4-BE49-F238E27FC236}">
                <a16:creationId xmlns:a16="http://schemas.microsoft.com/office/drawing/2014/main" id="{0B441D4A-AC9C-91D5-32FE-03EC2AE243D6}"/>
              </a:ext>
            </a:extLst>
          </p:cNvPr>
          <p:cNvGrpSpPr/>
          <p:nvPr userDrawn="1"/>
        </p:nvGrpSpPr>
        <p:grpSpPr>
          <a:xfrm>
            <a:off x="0" y="-55"/>
            <a:ext cx="12208711" cy="6858055"/>
            <a:chOff x="-16711" y="-55"/>
            <a:chExt cx="12208711" cy="6858055"/>
          </a:xfrm>
        </p:grpSpPr>
        <p:sp>
          <p:nvSpPr>
            <p:cNvPr id="7" name="Rechthoek 9">
              <a:extLst>
                <a:ext uri="{FF2B5EF4-FFF2-40B4-BE49-F238E27FC236}">
                  <a16:creationId xmlns:a16="http://schemas.microsoft.com/office/drawing/2014/main" id="{7EF356A4-AF9B-695B-45D6-DEC170063604}"/>
                </a:ext>
              </a:extLst>
            </p:cNvPr>
            <p:cNvSpPr/>
            <p:nvPr/>
          </p:nvSpPr>
          <p:spPr>
            <a:xfrm>
              <a:off x="-16711" y="0"/>
              <a:ext cx="12208711" cy="6858000"/>
            </a:xfrm>
            <a:prstGeom prst="rect">
              <a:avLst/>
            </a:prstGeom>
            <a:solidFill>
              <a:srgbClr val="1515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8" name="Rechthoek 10">
              <a:extLst>
                <a:ext uri="{FF2B5EF4-FFF2-40B4-BE49-F238E27FC236}">
                  <a16:creationId xmlns:a16="http://schemas.microsoft.com/office/drawing/2014/main" id="{1065CB0C-8A9E-5723-6E0C-54684268CAFE}"/>
                </a:ext>
              </a:extLst>
            </p:cNvPr>
            <p:cNvSpPr/>
            <p:nvPr/>
          </p:nvSpPr>
          <p:spPr>
            <a:xfrm rot="10800000">
              <a:off x="-1" y="-55"/>
              <a:ext cx="12191999" cy="6858000"/>
            </a:xfrm>
            <a:prstGeom prst="rect">
              <a:avLst/>
            </a:prstGeom>
            <a:gradFill flip="none" rotWithShape="1">
              <a:gsLst>
                <a:gs pos="0">
                  <a:srgbClr val="006094">
                    <a:alpha val="72000"/>
                  </a:srgbClr>
                </a:gs>
                <a:gs pos="52000">
                  <a:srgbClr val="15152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2423644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3DBDAA9F-D692-7412-B1AE-B0ADA871E25A}"/>
              </a:ext>
            </a:extLst>
          </p:cNvPr>
          <p:cNvSpPr txBox="1"/>
          <p:nvPr userDrawn="1"/>
        </p:nvSpPr>
        <p:spPr>
          <a:xfrm>
            <a:off x="1340614" y="786716"/>
            <a:ext cx="33148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Most Karma Points Based on Values Give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DE71A-5E59-C831-7AA8-8F91BCCCC6A3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511361" y="803544"/>
            <a:chExt cx="673644" cy="673644"/>
          </a:xfrm>
        </p:grpSpPr>
        <p:sp>
          <p:nvSpPr>
            <p:cNvPr id="13" name="Rounded Rectangle 112">
              <a:extLst>
                <a:ext uri="{FF2B5EF4-FFF2-40B4-BE49-F238E27FC236}">
                  <a16:creationId xmlns:a16="http://schemas.microsoft.com/office/drawing/2014/main" id="{2067D7B0-AA9C-D76B-B124-29C243901599}"/>
                </a:ext>
              </a:extLst>
            </p:cNvPr>
            <p:cNvSpPr/>
            <p:nvPr userDrawn="1"/>
          </p:nvSpPr>
          <p:spPr>
            <a:xfrm>
              <a:off x="511361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5C05D1BC-6D7C-8048-DDD9-CA00DC4D36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5689" y="956943"/>
              <a:ext cx="424988" cy="385873"/>
            </a:xfrm>
            <a:custGeom>
              <a:avLst/>
              <a:gdLst>
                <a:gd name="T0" fmla="*/ 256 w 256"/>
                <a:gd name="T1" fmla="*/ 95 h 232"/>
                <a:gd name="T2" fmla="*/ 232 w 256"/>
                <a:gd name="T3" fmla="*/ 68 h 232"/>
                <a:gd name="T4" fmla="*/ 232 w 256"/>
                <a:gd name="T5" fmla="*/ 0 h 232"/>
                <a:gd name="T6" fmla="*/ 102 w 256"/>
                <a:gd name="T7" fmla="*/ 43 h 232"/>
                <a:gd name="T8" fmla="*/ 40 w 256"/>
                <a:gd name="T9" fmla="*/ 43 h 232"/>
                <a:gd name="T10" fmla="*/ 0 w 256"/>
                <a:gd name="T11" fmla="*/ 83 h 232"/>
                <a:gd name="T12" fmla="*/ 0 w 256"/>
                <a:gd name="T13" fmla="*/ 107 h 232"/>
                <a:gd name="T14" fmla="*/ 40 w 256"/>
                <a:gd name="T15" fmla="*/ 147 h 232"/>
                <a:gd name="T16" fmla="*/ 40 w 256"/>
                <a:gd name="T17" fmla="*/ 147 h 232"/>
                <a:gd name="T18" fmla="*/ 40 w 256"/>
                <a:gd name="T19" fmla="*/ 155 h 232"/>
                <a:gd name="T20" fmla="*/ 74 w 256"/>
                <a:gd name="T21" fmla="*/ 230 h 232"/>
                <a:gd name="T22" fmla="*/ 79 w 256"/>
                <a:gd name="T23" fmla="*/ 232 h 232"/>
                <a:gd name="T24" fmla="*/ 85 w 256"/>
                <a:gd name="T25" fmla="*/ 230 h 232"/>
                <a:gd name="T26" fmla="*/ 85 w 256"/>
                <a:gd name="T27" fmla="*/ 230 h 232"/>
                <a:gd name="T28" fmla="*/ 110 w 256"/>
                <a:gd name="T29" fmla="*/ 205 h 232"/>
                <a:gd name="T30" fmla="*/ 110 w 256"/>
                <a:gd name="T31" fmla="*/ 205 h 232"/>
                <a:gd name="T32" fmla="*/ 111 w 256"/>
                <a:gd name="T33" fmla="*/ 204 h 232"/>
                <a:gd name="T34" fmla="*/ 109 w 256"/>
                <a:gd name="T35" fmla="*/ 193 h 232"/>
                <a:gd name="T36" fmla="*/ 88 w 256"/>
                <a:gd name="T37" fmla="*/ 151 h 232"/>
                <a:gd name="T38" fmla="*/ 88 w 256"/>
                <a:gd name="T39" fmla="*/ 147 h 232"/>
                <a:gd name="T40" fmla="*/ 103 w 256"/>
                <a:gd name="T41" fmla="*/ 147 h 232"/>
                <a:gd name="T42" fmla="*/ 232 w 256"/>
                <a:gd name="T43" fmla="*/ 190 h 232"/>
                <a:gd name="T44" fmla="*/ 232 w 256"/>
                <a:gd name="T45" fmla="*/ 123 h 232"/>
                <a:gd name="T46" fmla="*/ 256 w 256"/>
                <a:gd name="T47" fmla="*/ 95 h 232"/>
                <a:gd name="T48" fmla="*/ 93 w 256"/>
                <a:gd name="T49" fmla="*/ 200 h 232"/>
                <a:gd name="T50" fmla="*/ 79 w 256"/>
                <a:gd name="T51" fmla="*/ 213 h 232"/>
                <a:gd name="T52" fmla="*/ 56 w 256"/>
                <a:gd name="T53" fmla="*/ 155 h 232"/>
                <a:gd name="T54" fmla="*/ 56 w 256"/>
                <a:gd name="T55" fmla="*/ 147 h 232"/>
                <a:gd name="T56" fmla="*/ 72 w 256"/>
                <a:gd name="T57" fmla="*/ 147 h 232"/>
                <a:gd name="T58" fmla="*/ 72 w 256"/>
                <a:gd name="T59" fmla="*/ 151 h 232"/>
                <a:gd name="T60" fmla="*/ 93 w 256"/>
                <a:gd name="T61" fmla="*/ 200 h 232"/>
                <a:gd name="T62" fmla="*/ 216 w 256"/>
                <a:gd name="T63" fmla="*/ 168 h 232"/>
                <a:gd name="T64" fmla="*/ 112 w 256"/>
                <a:gd name="T65" fmla="*/ 134 h 232"/>
                <a:gd name="T66" fmla="*/ 104 w 256"/>
                <a:gd name="T67" fmla="*/ 131 h 232"/>
                <a:gd name="T68" fmla="*/ 88 w 256"/>
                <a:gd name="T69" fmla="*/ 131 h 232"/>
                <a:gd name="T70" fmla="*/ 88 w 256"/>
                <a:gd name="T71" fmla="*/ 120 h 232"/>
                <a:gd name="T72" fmla="*/ 88 w 256"/>
                <a:gd name="T73" fmla="*/ 59 h 232"/>
                <a:gd name="T74" fmla="*/ 104 w 256"/>
                <a:gd name="T75" fmla="*/ 59 h 232"/>
                <a:gd name="T76" fmla="*/ 104 w 256"/>
                <a:gd name="T77" fmla="*/ 59 h 232"/>
                <a:gd name="T78" fmla="*/ 112 w 256"/>
                <a:gd name="T79" fmla="*/ 57 h 232"/>
                <a:gd name="T80" fmla="*/ 216 w 256"/>
                <a:gd name="T81" fmla="*/ 22 h 232"/>
                <a:gd name="T82" fmla="*/ 216 w 256"/>
                <a:gd name="T83" fmla="*/ 16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6" h="232">
                  <a:moveTo>
                    <a:pt x="256" y="95"/>
                  </a:moveTo>
                  <a:cubicBezTo>
                    <a:pt x="256" y="81"/>
                    <a:pt x="246" y="70"/>
                    <a:pt x="232" y="68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18" y="43"/>
                    <a:pt x="0" y="61"/>
                    <a:pt x="0" y="8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29"/>
                    <a:pt x="18" y="147"/>
                    <a:pt x="40" y="147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0" y="155"/>
                    <a:pt x="40" y="155"/>
                    <a:pt x="40" y="155"/>
                  </a:cubicBezTo>
                  <a:cubicBezTo>
                    <a:pt x="40" y="184"/>
                    <a:pt x="53" y="211"/>
                    <a:pt x="74" y="230"/>
                  </a:cubicBezTo>
                  <a:cubicBezTo>
                    <a:pt x="76" y="232"/>
                    <a:pt x="77" y="232"/>
                    <a:pt x="79" y="232"/>
                  </a:cubicBezTo>
                  <a:cubicBezTo>
                    <a:pt x="81" y="232"/>
                    <a:pt x="83" y="232"/>
                    <a:pt x="85" y="230"/>
                  </a:cubicBezTo>
                  <a:cubicBezTo>
                    <a:pt x="85" y="230"/>
                    <a:pt x="85" y="230"/>
                    <a:pt x="85" y="230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0" y="205"/>
                    <a:pt x="110" y="205"/>
                    <a:pt x="111" y="204"/>
                  </a:cubicBezTo>
                  <a:cubicBezTo>
                    <a:pt x="113" y="201"/>
                    <a:pt x="113" y="196"/>
                    <a:pt x="109" y="193"/>
                  </a:cubicBezTo>
                  <a:cubicBezTo>
                    <a:pt x="96" y="183"/>
                    <a:pt x="88" y="168"/>
                    <a:pt x="88" y="151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103" y="147"/>
                    <a:pt x="103" y="147"/>
                    <a:pt x="103" y="147"/>
                  </a:cubicBezTo>
                  <a:cubicBezTo>
                    <a:pt x="232" y="190"/>
                    <a:pt x="232" y="190"/>
                    <a:pt x="232" y="190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46" y="121"/>
                    <a:pt x="256" y="109"/>
                    <a:pt x="256" y="95"/>
                  </a:cubicBezTo>
                  <a:close/>
                  <a:moveTo>
                    <a:pt x="93" y="200"/>
                  </a:moveTo>
                  <a:cubicBezTo>
                    <a:pt x="79" y="213"/>
                    <a:pt x="79" y="213"/>
                    <a:pt x="79" y="213"/>
                  </a:cubicBezTo>
                  <a:cubicBezTo>
                    <a:pt x="65" y="198"/>
                    <a:pt x="56" y="177"/>
                    <a:pt x="56" y="155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72" y="147"/>
                    <a:pt x="72" y="147"/>
                    <a:pt x="72" y="147"/>
                  </a:cubicBezTo>
                  <a:cubicBezTo>
                    <a:pt x="72" y="151"/>
                    <a:pt x="72" y="151"/>
                    <a:pt x="72" y="151"/>
                  </a:cubicBezTo>
                  <a:cubicBezTo>
                    <a:pt x="72" y="170"/>
                    <a:pt x="80" y="187"/>
                    <a:pt x="93" y="200"/>
                  </a:cubicBezTo>
                  <a:close/>
                  <a:moveTo>
                    <a:pt x="216" y="168"/>
                  </a:moveTo>
                  <a:cubicBezTo>
                    <a:pt x="112" y="134"/>
                    <a:pt x="112" y="134"/>
                    <a:pt x="112" y="134"/>
                  </a:cubicBezTo>
                  <a:cubicBezTo>
                    <a:pt x="104" y="131"/>
                    <a:pt x="104" y="131"/>
                    <a:pt x="104" y="131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0"/>
                    <a:pt x="88" y="120"/>
                    <a:pt x="88" y="120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216" y="22"/>
                    <a:pt x="216" y="22"/>
                    <a:pt x="216" y="22"/>
                  </a:cubicBezTo>
                  <a:lnTo>
                    <a:pt x="216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239F0838-7398-AC9C-178E-C7DF48A86492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oogle Shape;32;p25">
            <a:extLst>
              <a:ext uri="{FF2B5EF4-FFF2-40B4-BE49-F238E27FC236}">
                <a16:creationId xmlns:a16="http://schemas.microsoft.com/office/drawing/2014/main" id="{EFF54B0E-C2F3-6BF0-1724-892E2AAC59C6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D81FAAE-4AF3-F8CF-72AF-8A5CFF9C727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784113"/>
            <a:ext cx="5304655" cy="221799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Google Shape;46;p28">
            <a:extLst>
              <a:ext uri="{FF2B5EF4-FFF2-40B4-BE49-F238E27FC236}">
                <a16:creationId xmlns:a16="http://schemas.microsoft.com/office/drawing/2014/main" id="{4329D89C-59FE-4981-BF18-3FAC30426CAF}"/>
              </a:ext>
            </a:extLst>
          </p:cNvPr>
          <p:cNvSpPr txBox="1">
            <a:spLocks noGrp="1"/>
          </p:cNvSpPr>
          <p:nvPr>
            <p:ph type="body" idx="19"/>
          </p:nvPr>
        </p:nvSpPr>
        <p:spPr>
          <a:xfrm>
            <a:off x="511359" y="3120823"/>
            <a:ext cx="5304655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40" bIns="45700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  <a:latin typeface="+mj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997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89E0664-8E29-67A8-3061-B3101295757A}"/>
              </a:ext>
            </a:extLst>
          </p:cNvPr>
          <p:cNvSpPr txBox="1"/>
          <p:nvPr userDrawn="1"/>
        </p:nvSpPr>
        <p:spPr>
          <a:xfrm>
            <a:off x="1340614" y="786716"/>
            <a:ext cx="36584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Most Karma Points Based on Values Receive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04DDE32-98CE-FEFC-19F5-5F1E60C6D54B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511361" y="803544"/>
            <a:chExt cx="673644" cy="673644"/>
          </a:xfrm>
        </p:grpSpPr>
        <p:sp>
          <p:nvSpPr>
            <p:cNvPr id="17" name="Rounded Rectangle 112">
              <a:extLst>
                <a:ext uri="{FF2B5EF4-FFF2-40B4-BE49-F238E27FC236}">
                  <a16:creationId xmlns:a16="http://schemas.microsoft.com/office/drawing/2014/main" id="{25D72C32-E31C-1DA6-DD92-0D9D913E1809}"/>
                </a:ext>
              </a:extLst>
            </p:cNvPr>
            <p:cNvSpPr/>
            <p:nvPr userDrawn="1"/>
          </p:nvSpPr>
          <p:spPr>
            <a:xfrm>
              <a:off x="511361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" name="Group 58">
              <a:extLst>
                <a:ext uri="{FF2B5EF4-FFF2-40B4-BE49-F238E27FC236}">
                  <a16:creationId xmlns:a16="http://schemas.microsoft.com/office/drawing/2014/main" id="{C1F70B22-59D7-B08E-BC79-E5BD3DF9029C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613637" y="961123"/>
              <a:ext cx="469091" cy="396726"/>
              <a:chOff x="2145" y="685"/>
              <a:chExt cx="363" cy="307"/>
            </a:xfrm>
            <a:solidFill>
              <a:schemeClr val="bg1"/>
            </a:solidFill>
          </p:grpSpPr>
          <p:sp>
            <p:nvSpPr>
              <p:cNvPr id="21" name="Freeform 59">
                <a:extLst>
                  <a:ext uri="{FF2B5EF4-FFF2-40B4-BE49-F238E27FC236}">
                    <a16:creationId xmlns:a16="http://schemas.microsoft.com/office/drawing/2014/main" id="{F2FA7C89-80F7-F850-A82C-F54761AE53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5" y="704"/>
                <a:ext cx="315" cy="288"/>
              </a:xfrm>
              <a:custGeom>
                <a:avLst/>
                <a:gdLst>
                  <a:gd name="T0" fmla="*/ 100 w 131"/>
                  <a:gd name="T1" fmla="*/ 12 h 119"/>
                  <a:gd name="T2" fmla="*/ 51 w 131"/>
                  <a:gd name="T3" fmla="*/ 8 h 119"/>
                  <a:gd name="T4" fmla="*/ 35 w 131"/>
                  <a:gd name="T5" fmla="*/ 42 h 119"/>
                  <a:gd name="T6" fmla="*/ 44 w 131"/>
                  <a:gd name="T7" fmla="*/ 54 h 119"/>
                  <a:gd name="T8" fmla="*/ 57 w 131"/>
                  <a:gd name="T9" fmla="*/ 48 h 119"/>
                  <a:gd name="T10" fmla="*/ 64 w 131"/>
                  <a:gd name="T11" fmla="*/ 37 h 119"/>
                  <a:gd name="T12" fmla="*/ 111 w 131"/>
                  <a:gd name="T13" fmla="*/ 75 h 119"/>
                  <a:gd name="T14" fmla="*/ 105 w 131"/>
                  <a:gd name="T15" fmla="*/ 81 h 119"/>
                  <a:gd name="T16" fmla="*/ 91 w 131"/>
                  <a:gd name="T17" fmla="*/ 71 h 119"/>
                  <a:gd name="T18" fmla="*/ 101 w 131"/>
                  <a:gd name="T19" fmla="*/ 85 h 119"/>
                  <a:gd name="T20" fmla="*/ 95 w 131"/>
                  <a:gd name="T21" fmla="*/ 91 h 119"/>
                  <a:gd name="T22" fmla="*/ 81 w 131"/>
                  <a:gd name="T23" fmla="*/ 81 h 119"/>
                  <a:gd name="T24" fmla="*/ 91 w 131"/>
                  <a:gd name="T25" fmla="*/ 95 h 119"/>
                  <a:gd name="T26" fmla="*/ 85 w 131"/>
                  <a:gd name="T27" fmla="*/ 101 h 119"/>
                  <a:gd name="T28" fmla="*/ 72 w 131"/>
                  <a:gd name="T29" fmla="*/ 91 h 119"/>
                  <a:gd name="T30" fmla="*/ 81 w 131"/>
                  <a:gd name="T31" fmla="*/ 105 h 119"/>
                  <a:gd name="T32" fmla="*/ 76 w 131"/>
                  <a:gd name="T33" fmla="*/ 111 h 119"/>
                  <a:gd name="T34" fmla="*/ 63 w 131"/>
                  <a:gd name="T35" fmla="*/ 91 h 119"/>
                  <a:gd name="T36" fmla="*/ 53 w 131"/>
                  <a:gd name="T37" fmla="*/ 81 h 119"/>
                  <a:gd name="T38" fmla="*/ 43 w 131"/>
                  <a:gd name="T39" fmla="*/ 71 h 119"/>
                  <a:gd name="T40" fmla="*/ 33 w 131"/>
                  <a:gd name="T41" fmla="*/ 61 h 119"/>
                  <a:gd name="T42" fmla="*/ 5 w 131"/>
                  <a:gd name="T43" fmla="*/ 41 h 119"/>
                  <a:gd name="T44" fmla="*/ 1 w 131"/>
                  <a:gd name="T45" fmla="*/ 46 h 119"/>
                  <a:gd name="T46" fmla="*/ 14 w 131"/>
                  <a:gd name="T47" fmla="*/ 70 h 119"/>
                  <a:gd name="T48" fmla="*/ 24 w 131"/>
                  <a:gd name="T49" fmla="*/ 80 h 119"/>
                  <a:gd name="T50" fmla="*/ 34 w 131"/>
                  <a:gd name="T51" fmla="*/ 90 h 119"/>
                  <a:gd name="T52" fmla="*/ 44 w 131"/>
                  <a:gd name="T53" fmla="*/ 100 h 119"/>
                  <a:gd name="T54" fmla="*/ 54 w 131"/>
                  <a:gd name="T55" fmla="*/ 109 h 119"/>
                  <a:gd name="T56" fmla="*/ 71 w 131"/>
                  <a:gd name="T57" fmla="*/ 115 h 119"/>
                  <a:gd name="T58" fmla="*/ 88 w 131"/>
                  <a:gd name="T59" fmla="*/ 108 h 119"/>
                  <a:gd name="T60" fmla="*/ 98 w 131"/>
                  <a:gd name="T61" fmla="*/ 98 h 119"/>
                  <a:gd name="T62" fmla="*/ 108 w 131"/>
                  <a:gd name="T63" fmla="*/ 88 h 119"/>
                  <a:gd name="T64" fmla="*/ 115 w 131"/>
                  <a:gd name="T65" fmla="*/ 71 h 119"/>
                  <a:gd name="T66" fmla="*/ 130 w 131"/>
                  <a:gd name="T67" fmla="*/ 46 h 119"/>
                  <a:gd name="T68" fmla="*/ 102 w 131"/>
                  <a:gd name="T69" fmla="*/ 13 h 119"/>
                  <a:gd name="T70" fmla="*/ 102 w 131"/>
                  <a:gd name="T71" fmla="*/ 13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1" h="119">
                    <a:moveTo>
                      <a:pt x="102" y="13"/>
                    </a:moveTo>
                    <a:cubicBezTo>
                      <a:pt x="101" y="13"/>
                      <a:pt x="101" y="13"/>
                      <a:pt x="100" y="12"/>
                    </a:cubicBezTo>
                    <a:cubicBezTo>
                      <a:pt x="72" y="3"/>
                      <a:pt x="72" y="3"/>
                      <a:pt x="72" y="3"/>
                    </a:cubicBezTo>
                    <a:cubicBezTo>
                      <a:pt x="60" y="0"/>
                      <a:pt x="53" y="6"/>
                      <a:pt x="51" y="8"/>
                    </a:cubicBezTo>
                    <a:cubicBezTo>
                      <a:pt x="49" y="9"/>
                      <a:pt x="49" y="10"/>
                      <a:pt x="48" y="12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35" y="43"/>
                      <a:pt x="35" y="46"/>
                      <a:pt x="36" y="48"/>
                    </a:cubicBezTo>
                    <a:cubicBezTo>
                      <a:pt x="38" y="51"/>
                      <a:pt x="41" y="54"/>
                      <a:pt x="44" y="54"/>
                    </a:cubicBezTo>
                    <a:cubicBezTo>
                      <a:pt x="48" y="55"/>
                      <a:pt x="52" y="54"/>
                      <a:pt x="55" y="51"/>
                    </a:cubicBezTo>
                    <a:cubicBezTo>
                      <a:pt x="56" y="50"/>
                      <a:pt x="57" y="49"/>
                      <a:pt x="57" y="48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39"/>
                      <a:pt x="63" y="38"/>
                      <a:pt x="64" y="37"/>
                    </a:cubicBezTo>
                    <a:cubicBezTo>
                      <a:pt x="68" y="33"/>
                      <a:pt x="70" y="35"/>
                      <a:pt x="71" y="35"/>
                    </a:cubicBezTo>
                    <a:cubicBezTo>
                      <a:pt x="77" y="41"/>
                      <a:pt x="111" y="75"/>
                      <a:pt x="111" y="75"/>
                    </a:cubicBezTo>
                    <a:cubicBezTo>
                      <a:pt x="112" y="77"/>
                      <a:pt x="112" y="79"/>
                      <a:pt x="110" y="80"/>
                    </a:cubicBezTo>
                    <a:cubicBezTo>
                      <a:pt x="109" y="82"/>
                      <a:pt x="107" y="82"/>
                      <a:pt x="105" y="8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5" y="70"/>
                      <a:pt x="93" y="70"/>
                      <a:pt x="91" y="71"/>
                    </a:cubicBezTo>
                    <a:cubicBezTo>
                      <a:pt x="90" y="73"/>
                      <a:pt x="90" y="75"/>
                      <a:pt x="91" y="76"/>
                    </a:cubicBezTo>
                    <a:cubicBezTo>
                      <a:pt x="101" y="85"/>
                      <a:pt x="101" y="85"/>
                      <a:pt x="101" y="85"/>
                    </a:cubicBezTo>
                    <a:cubicBezTo>
                      <a:pt x="102" y="86"/>
                      <a:pt x="102" y="89"/>
                      <a:pt x="100" y="90"/>
                    </a:cubicBezTo>
                    <a:cubicBezTo>
                      <a:pt x="99" y="92"/>
                      <a:pt x="97" y="92"/>
                      <a:pt x="95" y="91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5" y="80"/>
                      <a:pt x="83" y="80"/>
                      <a:pt x="81" y="81"/>
                    </a:cubicBezTo>
                    <a:cubicBezTo>
                      <a:pt x="80" y="83"/>
                      <a:pt x="80" y="85"/>
                      <a:pt x="81" y="86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92" y="96"/>
                      <a:pt x="92" y="99"/>
                      <a:pt x="90" y="100"/>
                    </a:cubicBezTo>
                    <a:cubicBezTo>
                      <a:pt x="89" y="102"/>
                      <a:pt x="87" y="102"/>
                      <a:pt x="85" y="101"/>
                    </a:cubicBezTo>
                    <a:cubicBezTo>
                      <a:pt x="76" y="91"/>
                      <a:pt x="76" y="91"/>
                      <a:pt x="76" y="91"/>
                    </a:cubicBezTo>
                    <a:cubicBezTo>
                      <a:pt x="75" y="90"/>
                      <a:pt x="73" y="90"/>
                      <a:pt x="72" y="91"/>
                    </a:cubicBezTo>
                    <a:cubicBezTo>
                      <a:pt x="70" y="92"/>
                      <a:pt x="70" y="94"/>
                      <a:pt x="72" y="96"/>
                    </a:cubicBezTo>
                    <a:cubicBezTo>
                      <a:pt x="81" y="105"/>
                      <a:pt x="81" y="105"/>
                      <a:pt x="81" y="105"/>
                    </a:cubicBezTo>
                    <a:cubicBezTo>
                      <a:pt x="82" y="106"/>
                      <a:pt x="82" y="109"/>
                      <a:pt x="80" y="110"/>
                    </a:cubicBezTo>
                    <a:cubicBezTo>
                      <a:pt x="79" y="112"/>
                      <a:pt x="77" y="112"/>
                      <a:pt x="76" y="111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6" y="97"/>
                      <a:pt x="65" y="93"/>
                      <a:pt x="63" y="91"/>
                    </a:cubicBezTo>
                    <a:cubicBezTo>
                      <a:pt x="60" y="88"/>
                      <a:pt x="56" y="88"/>
                      <a:pt x="53" y="90"/>
                    </a:cubicBezTo>
                    <a:cubicBezTo>
                      <a:pt x="56" y="88"/>
                      <a:pt x="56" y="83"/>
                      <a:pt x="53" y="81"/>
                    </a:cubicBezTo>
                    <a:cubicBezTo>
                      <a:pt x="50" y="78"/>
                      <a:pt x="46" y="78"/>
                      <a:pt x="43" y="80"/>
                    </a:cubicBezTo>
                    <a:cubicBezTo>
                      <a:pt x="46" y="78"/>
                      <a:pt x="46" y="73"/>
                      <a:pt x="43" y="71"/>
                    </a:cubicBezTo>
                    <a:cubicBezTo>
                      <a:pt x="40" y="68"/>
                      <a:pt x="36" y="68"/>
                      <a:pt x="33" y="70"/>
                    </a:cubicBezTo>
                    <a:cubicBezTo>
                      <a:pt x="36" y="68"/>
                      <a:pt x="36" y="64"/>
                      <a:pt x="33" y="61"/>
                    </a:cubicBezTo>
                    <a:cubicBezTo>
                      <a:pt x="30" y="58"/>
                      <a:pt x="27" y="58"/>
                      <a:pt x="24" y="60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4" y="40"/>
                      <a:pt x="2" y="40"/>
                      <a:pt x="1" y="41"/>
                    </a:cubicBezTo>
                    <a:cubicBezTo>
                      <a:pt x="0" y="42"/>
                      <a:pt x="0" y="44"/>
                      <a:pt x="1" y="46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14" y="70"/>
                      <a:pt x="14" y="70"/>
                      <a:pt x="14" y="70"/>
                    </a:cubicBezTo>
                    <a:cubicBezTo>
                      <a:pt x="12" y="72"/>
                      <a:pt x="12" y="76"/>
                      <a:pt x="15" y="79"/>
                    </a:cubicBezTo>
                    <a:cubicBezTo>
                      <a:pt x="17" y="82"/>
                      <a:pt x="22" y="82"/>
                      <a:pt x="24" y="80"/>
                    </a:cubicBezTo>
                    <a:cubicBezTo>
                      <a:pt x="22" y="82"/>
                      <a:pt x="22" y="86"/>
                      <a:pt x="25" y="89"/>
                    </a:cubicBezTo>
                    <a:cubicBezTo>
                      <a:pt x="27" y="92"/>
                      <a:pt x="31" y="92"/>
                      <a:pt x="34" y="90"/>
                    </a:cubicBezTo>
                    <a:cubicBezTo>
                      <a:pt x="31" y="92"/>
                      <a:pt x="32" y="96"/>
                      <a:pt x="34" y="99"/>
                    </a:cubicBezTo>
                    <a:cubicBezTo>
                      <a:pt x="37" y="102"/>
                      <a:pt x="41" y="102"/>
                      <a:pt x="44" y="100"/>
                    </a:cubicBezTo>
                    <a:cubicBezTo>
                      <a:pt x="41" y="102"/>
                      <a:pt x="42" y="106"/>
                      <a:pt x="44" y="109"/>
                    </a:cubicBezTo>
                    <a:cubicBezTo>
                      <a:pt x="47" y="112"/>
                      <a:pt x="51" y="112"/>
                      <a:pt x="54" y="109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71" y="115"/>
                      <a:pt x="71" y="115"/>
                      <a:pt x="71" y="115"/>
                    </a:cubicBezTo>
                    <a:cubicBezTo>
                      <a:pt x="75" y="119"/>
                      <a:pt x="81" y="119"/>
                      <a:pt x="85" y="115"/>
                    </a:cubicBezTo>
                    <a:cubicBezTo>
                      <a:pt x="87" y="113"/>
                      <a:pt x="88" y="110"/>
                      <a:pt x="88" y="108"/>
                    </a:cubicBezTo>
                    <a:cubicBezTo>
                      <a:pt x="90" y="108"/>
                      <a:pt x="93" y="107"/>
                      <a:pt x="95" y="105"/>
                    </a:cubicBezTo>
                    <a:cubicBezTo>
                      <a:pt x="97" y="103"/>
                      <a:pt x="98" y="100"/>
                      <a:pt x="98" y="98"/>
                    </a:cubicBezTo>
                    <a:cubicBezTo>
                      <a:pt x="100" y="98"/>
                      <a:pt x="103" y="97"/>
                      <a:pt x="105" y="95"/>
                    </a:cubicBezTo>
                    <a:cubicBezTo>
                      <a:pt x="107" y="93"/>
                      <a:pt x="108" y="90"/>
                      <a:pt x="108" y="88"/>
                    </a:cubicBezTo>
                    <a:cubicBezTo>
                      <a:pt x="110" y="88"/>
                      <a:pt x="113" y="87"/>
                      <a:pt x="115" y="85"/>
                    </a:cubicBezTo>
                    <a:cubicBezTo>
                      <a:pt x="119" y="81"/>
                      <a:pt x="119" y="75"/>
                      <a:pt x="115" y="71"/>
                    </a:cubicBezTo>
                    <a:cubicBezTo>
                      <a:pt x="110" y="66"/>
                      <a:pt x="110" y="66"/>
                      <a:pt x="110" y="66"/>
                    </a:cubicBezTo>
                    <a:cubicBezTo>
                      <a:pt x="130" y="46"/>
                      <a:pt x="130" y="46"/>
                      <a:pt x="130" y="46"/>
                    </a:cubicBezTo>
                    <a:cubicBezTo>
                      <a:pt x="131" y="45"/>
                      <a:pt x="131" y="43"/>
                      <a:pt x="130" y="42"/>
                    </a:cubicBezTo>
                    <a:lnTo>
                      <a:pt x="102" y="13"/>
                    </a:lnTo>
                    <a:close/>
                    <a:moveTo>
                      <a:pt x="102" y="13"/>
                    </a:moveTo>
                    <a:cubicBezTo>
                      <a:pt x="102" y="13"/>
                      <a:pt x="102" y="13"/>
                      <a:pt x="102" y="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  <p:sp>
            <p:nvSpPr>
              <p:cNvPr id="22" name="Freeform 60">
                <a:extLst>
                  <a:ext uri="{FF2B5EF4-FFF2-40B4-BE49-F238E27FC236}">
                    <a16:creationId xmlns:a16="http://schemas.microsoft.com/office/drawing/2014/main" id="{F6924332-B93A-3657-70A0-2B8E0401EC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3" y="685"/>
                <a:ext cx="115" cy="116"/>
              </a:xfrm>
              <a:custGeom>
                <a:avLst/>
                <a:gdLst>
                  <a:gd name="T0" fmla="*/ 46 w 48"/>
                  <a:gd name="T1" fmla="*/ 28 h 48"/>
                  <a:gd name="T2" fmla="*/ 20 w 48"/>
                  <a:gd name="T3" fmla="*/ 3 h 48"/>
                  <a:gd name="T4" fmla="*/ 11 w 48"/>
                  <a:gd name="T5" fmla="*/ 3 h 48"/>
                  <a:gd name="T6" fmla="*/ 3 w 48"/>
                  <a:gd name="T7" fmla="*/ 12 h 48"/>
                  <a:gd name="T8" fmla="*/ 3 w 48"/>
                  <a:gd name="T9" fmla="*/ 20 h 48"/>
                  <a:gd name="T10" fmla="*/ 28 w 48"/>
                  <a:gd name="T11" fmla="*/ 46 h 48"/>
                  <a:gd name="T12" fmla="*/ 37 w 48"/>
                  <a:gd name="T13" fmla="*/ 46 h 48"/>
                  <a:gd name="T14" fmla="*/ 46 w 48"/>
                  <a:gd name="T15" fmla="*/ 37 h 48"/>
                  <a:gd name="T16" fmla="*/ 46 w 48"/>
                  <a:gd name="T17" fmla="*/ 28 h 48"/>
                  <a:gd name="T18" fmla="*/ 32 w 48"/>
                  <a:gd name="T19" fmla="*/ 41 h 48"/>
                  <a:gd name="T20" fmla="*/ 27 w 48"/>
                  <a:gd name="T21" fmla="*/ 36 h 48"/>
                  <a:gd name="T22" fmla="*/ 32 w 48"/>
                  <a:gd name="T23" fmla="*/ 31 h 48"/>
                  <a:gd name="T24" fmla="*/ 37 w 48"/>
                  <a:gd name="T25" fmla="*/ 36 h 48"/>
                  <a:gd name="T26" fmla="*/ 32 w 48"/>
                  <a:gd name="T27" fmla="*/ 41 h 48"/>
                  <a:gd name="T28" fmla="*/ 32 w 48"/>
                  <a:gd name="T29" fmla="*/ 41 h 48"/>
                  <a:gd name="T30" fmla="*/ 32 w 48"/>
                  <a:gd name="T31" fmla="*/ 4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48">
                    <a:moveTo>
                      <a:pt x="46" y="28"/>
                    </a:moveTo>
                    <a:cubicBezTo>
                      <a:pt x="20" y="3"/>
                      <a:pt x="20" y="3"/>
                      <a:pt x="20" y="3"/>
                    </a:cubicBezTo>
                    <a:cubicBezTo>
                      <a:pt x="18" y="0"/>
                      <a:pt x="14" y="0"/>
                      <a:pt x="11" y="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0" y="14"/>
                      <a:pt x="0" y="18"/>
                      <a:pt x="3" y="20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30" y="48"/>
                      <a:pt x="34" y="48"/>
                      <a:pt x="37" y="46"/>
                    </a:cubicBezTo>
                    <a:cubicBezTo>
                      <a:pt x="46" y="37"/>
                      <a:pt x="46" y="37"/>
                      <a:pt x="46" y="37"/>
                    </a:cubicBezTo>
                    <a:cubicBezTo>
                      <a:pt x="48" y="35"/>
                      <a:pt x="48" y="31"/>
                      <a:pt x="46" y="28"/>
                    </a:cubicBezTo>
                    <a:close/>
                    <a:moveTo>
                      <a:pt x="32" y="41"/>
                    </a:moveTo>
                    <a:cubicBezTo>
                      <a:pt x="29" y="41"/>
                      <a:pt x="27" y="39"/>
                      <a:pt x="27" y="36"/>
                    </a:cubicBezTo>
                    <a:cubicBezTo>
                      <a:pt x="27" y="33"/>
                      <a:pt x="29" y="31"/>
                      <a:pt x="32" y="31"/>
                    </a:cubicBezTo>
                    <a:cubicBezTo>
                      <a:pt x="35" y="31"/>
                      <a:pt x="37" y="33"/>
                      <a:pt x="37" y="36"/>
                    </a:cubicBezTo>
                    <a:cubicBezTo>
                      <a:pt x="37" y="39"/>
                      <a:pt x="35" y="41"/>
                      <a:pt x="32" y="41"/>
                    </a:cubicBezTo>
                    <a:close/>
                    <a:moveTo>
                      <a:pt x="32" y="41"/>
                    </a:moveTo>
                    <a:cubicBezTo>
                      <a:pt x="32" y="41"/>
                      <a:pt x="32" y="41"/>
                      <a:pt x="32" y="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EB1B31F-8527-299C-5438-BD008F1673BC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32;p25">
            <a:extLst>
              <a:ext uri="{FF2B5EF4-FFF2-40B4-BE49-F238E27FC236}">
                <a16:creationId xmlns:a16="http://schemas.microsoft.com/office/drawing/2014/main" id="{F7B9C921-D58A-814A-C665-7AE9C1DC3F8F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07CBB13-2047-76D6-9A00-6F5A34AD7E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1360" y="3784113"/>
            <a:ext cx="5304655" cy="221799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tx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Google Shape;46;p28">
            <a:extLst>
              <a:ext uri="{FF2B5EF4-FFF2-40B4-BE49-F238E27FC236}">
                <a16:creationId xmlns:a16="http://schemas.microsoft.com/office/drawing/2014/main" id="{5BE24FA7-2B02-0B84-0553-C25FE349DB6C}"/>
              </a:ext>
            </a:extLst>
          </p:cNvPr>
          <p:cNvSpPr txBox="1">
            <a:spLocks noGrp="1"/>
          </p:cNvSpPr>
          <p:nvPr>
            <p:ph type="body" idx="19"/>
          </p:nvPr>
        </p:nvSpPr>
        <p:spPr>
          <a:xfrm>
            <a:off x="511359" y="3120823"/>
            <a:ext cx="5304655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40" bIns="45700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  <a:latin typeface="+mj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5457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Content Slide" preserve="1" userDrawn="1">
  <p:cSld name="1_Side Conten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17D267-29DF-2A58-6673-E06126DEA176}"/>
              </a:ext>
            </a:extLst>
          </p:cNvPr>
          <p:cNvSpPr/>
          <p:nvPr userDrawn="1"/>
        </p:nvSpPr>
        <p:spPr>
          <a:xfrm flipV="1">
            <a:off x="0" y="2715696"/>
            <a:ext cx="12188952" cy="3527061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oogle Shape;32;p25">
            <a:extLst>
              <a:ext uri="{FF2B5EF4-FFF2-40B4-BE49-F238E27FC236}">
                <a16:creationId xmlns:a16="http://schemas.microsoft.com/office/drawing/2014/main" id="{D233505D-7A33-69B2-7DC4-B22986FD2978}"/>
              </a:ext>
            </a:extLst>
          </p:cNvPr>
          <p:cNvSpPr>
            <a:spLocks noGrp="1"/>
          </p:cNvSpPr>
          <p:nvPr>
            <p:ph type="pic" idx="5"/>
          </p:nvPr>
        </p:nvSpPr>
        <p:spPr>
          <a:xfrm>
            <a:off x="6096000" y="282086"/>
            <a:ext cx="5812968" cy="5720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DA291C"/>
              </a:buClr>
              <a:buSzPts val="1050"/>
              <a:buFont typeface="Arial"/>
              <a:buChar char="•"/>
              <a:defRPr sz="1400" b="0" i="0" u="none" strike="noStrike" cap="none">
                <a:solidFill>
                  <a:srgbClr val="10182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6;p28">
            <a:extLst>
              <a:ext uri="{FF2B5EF4-FFF2-40B4-BE49-F238E27FC236}">
                <a16:creationId xmlns:a16="http://schemas.microsoft.com/office/drawing/2014/main" id="{64C8DA48-2EA4-D123-72BD-69EBC69A896D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1359" y="3433147"/>
            <a:ext cx="5304655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40" bIns="45700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2800" b="1">
                <a:latin typeface="+mn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Month 00, 200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A7D8E5-3227-6EC8-5CFE-30A6DFDE51E5}"/>
              </a:ext>
            </a:extLst>
          </p:cNvPr>
          <p:cNvSpPr txBox="1"/>
          <p:nvPr userDrawn="1"/>
        </p:nvSpPr>
        <p:spPr>
          <a:xfrm>
            <a:off x="511359" y="3203742"/>
            <a:ext cx="3530332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000" b="0">
                <a:solidFill>
                  <a:srgbClr val="151521"/>
                </a:solidFill>
                <a:latin typeface="+mn-lt"/>
                <a:cs typeface="Poppins" panose="00000500000000000000" pitchFamily="2" charset="0"/>
              </a:rPr>
              <a:t>Started </a:t>
            </a:r>
            <a:r>
              <a:rPr lang="en-US" sz="2000" b="0">
                <a:solidFill>
                  <a:schemeClr val="tx1"/>
                </a:solidFill>
                <a:latin typeface="+mn-lt"/>
                <a:cs typeface="Poppins" panose="00000500000000000000" pitchFamily="2" charset="0"/>
              </a:rPr>
              <a:t>Date</a:t>
            </a:r>
            <a:r>
              <a:rPr lang="en-US" sz="2000" b="0">
                <a:solidFill>
                  <a:srgbClr val="151521"/>
                </a:solidFill>
                <a:latin typeface="+mn-lt"/>
                <a:cs typeface="Poppins" panose="00000500000000000000" pitchFamily="2" charset="0"/>
              </a:rPr>
              <a:t>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705C28-51E9-D2EA-652C-D308516707CA}"/>
              </a:ext>
            </a:extLst>
          </p:cNvPr>
          <p:cNvSpPr txBox="1"/>
          <p:nvPr userDrawn="1"/>
        </p:nvSpPr>
        <p:spPr>
          <a:xfrm>
            <a:off x="2069752" y="4516839"/>
            <a:ext cx="25561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tx1"/>
                </a:solidFill>
                <a:latin typeface="+mn-lt"/>
                <a:cs typeface="Poppins" panose="00000500000000000000" pitchFamily="2" charset="0"/>
              </a:rPr>
              <a:t>Year</a:t>
            </a:r>
          </a:p>
          <a:p>
            <a:pPr algn="l"/>
            <a:r>
              <a:rPr lang="en-US" sz="2000" b="0">
                <a:solidFill>
                  <a:srgbClr val="15152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iversary</a:t>
            </a:r>
          </a:p>
        </p:txBody>
      </p:sp>
      <p:sp>
        <p:nvSpPr>
          <p:cNvPr id="24" name="Freeform 31">
            <a:extLst>
              <a:ext uri="{FF2B5EF4-FFF2-40B4-BE49-F238E27FC236}">
                <a16:creationId xmlns:a16="http://schemas.microsoft.com/office/drawing/2014/main" id="{0679833F-B1DE-09C4-081F-4D80E959816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7587" y="4410781"/>
            <a:ext cx="1582033" cy="1424966"/>
          </a:xfrm>
          <a:custGeom>
            <a:avLst/>
            <a:gdLst>
              <a:gd name="T0" fmla="*/ 1493 w 1536"/>
              <a:gd name="T1" fmla="*/ 124 h 1383"/>
              <a:gd name="T2" fmla="*/ 1326 w 1536"/>
              <a:gd name="T3" fmla="*/ 49 h 1383"/>
              <a:gd name="T4" fmla="*/ 1149 w 1536"/>
              <a:gd name="T5" fmla="*/ 114 h 1383"/>
              <a:gd name="T6" fmla="*/ 1149 w 1536"/>
              <a:gd name="T7" fmla="*/ 114 h 1383"/>
              <a:gd name="T8" fmla="*/ 1149 w 1536"/>
              <a:gd name="T9" fmla="*/ 110 h 1383"/>
              <a:gd name="T10" fmla="*/ 1039 w 1536"/>
              <a:gd name="T11" fmla="*/ 0 h 1383"/>
              <a:gd name="T12" fmla="*/ 767 w 1536"/>
              <a:gd name="T13" fmla="*/ 0 h 1383"/>
              <a:gd name="T14" fmla="*/ 767 w 1536"/>
              <a:gd name="T15" fmla="*/ 0 h 1383"/>
              <a:gd name="T16" fmla="*/ 496 w 1536"/>
              <a:gd name="T17" fmla="*/ 1 h 1383"/>
              <a:gd name="T18" fmla="*/ 387 w 1536"/>
              <a:gd name="T19" fmla="*/ 110 h 1383"/>
              <a:gd name="T20" fmla="*/ 387 w 1536"/>
              <a:gd name="T21" fmla="*/ 114 h 1383"/>
              <a:gd name="T22" fmla="*/ 387 w 1536"/>
              <a:gd name="T23" fmla="*/ 114 h 1383"/>
              <a:gd name="T24" fmla="*/ 210 w 1536"/>
              <a:gd name="T25" fmla="*/ 49 h 1383"/>
              <a:gd name="T26" fmla="*/ 42 w 1536"/>
              <a:gd name="T27" fmla="*/ 124 h 1383"/>
              <a:gd name="T28" fmla="*/ 58 w 1536"/>
              <a:gd name="T29" fmla="*/ 392 h 1383"/>
              <a:gd name="T30" fmla="*/ 415 w 1536"/>
              <a:gd name="T31" fmla="*/ 751 h 1383"/>
              <a:gd name="T32" fmla="*/ 676 w 1536"/>
              <a:gd name="T33" fmla="*/ 960 h 1383"/>
              <a:gd name="T34" fmla="*/ 679 w 1536"/>
              <a:gd name="T35" fmla="*/ 975 h 1383"/>
              <a:gd name="T36" fmla="*/ 679 w 1536"/>
              <a:gd name="T37" fmla="*/ 1143 h 1383"/>
              <a:gd name="T38" fmla="*/ 606 w 1536"/>
              <a:gd name="T39" fmla="*/ 1143 h 1383"/>
              <a:gd name="T40" fmla="*/ 536 w 1536"/>
              <a:gd name="T41" fmla="*/ 1197 h 1383"/>
              <a:gd name="T42" fmla="*/ 536 w 1536"/>
              <a:gd name="T43" fmla="*/ 1205 h 1383"/>
              <a:gd name="T44" fmla="*/ 510 w 1536"/>
              <a:gd name="T45" fmla="*/ 1205 h 1383"/>
              <a:gd name="T46" fmla="*/ 422 w 1536"/>
              <a:gd name="T47" fmla="*/ 1293 h 1383"/>
              <a:gd name="T48" fmla="*/ 422 w 1536"/>
              <a:gd name="T49" fmla="*/ 1383 h 1383"/>
              <a:gd name="T50" fmla="*/ 1114 w 1536"/>
              <a:gd name="T51" fmla="*/ 1383 h 1383"/>
              <a:gd name="T52" fmla="*/ 1114 w 1536"/>
              <a:gd name="T53" fmla="*/ 1293 h 1383"/>
              <a:gd name="T54" fmla="*/ 1025 w 1536"/>
              <a:gd name="T55" fmla="*/ 1204 h 1383"/>
              <a:gd name="T56" fmla="*/ 1000 w 1536"/>
              <a:gd name="T57" fmla="*/ 1204 h 1383"/>
              <a:gd name="T58" fmla="*/ 1000 w 1536"/>
              <a:gd name="T59" fmla="*/ 1197 h 1383"/>
              <a:gd name="T60" fmla="*/ 930 w 1536"/>
              <a:gd name="T61" fmla="*/ 1143 h 1383"/>
              <a:gd name="T62" fmla="*/ 856 w 1536"/>
              <a:gd name="T63" fmla="*/ 1143 h 1383"/>
              <a:gd name="T64" fmla="*/ 856 w 1536"/>
              <a:gd name="T65" fmla="*/ 975 h 1383"/>
              <a:gd name="T66" fmla="*/ 860 w 1536"/>
              <a:gd name="T67" fmla="*/ 959 h 1383"/>
              <a:gd name="T68" fmla="*/ 1121 w 1536"/>
              <a:gd name="T69" fmla="*/ 751 h 1383"/>
              <a:gd name="T70" fmla="*/ 1478 w 1536"/>
              <a:gd name="T71" fmla="*/ 392 h 1383"/>
              <a:gd name="T72" fmla="*/ 1493 w 1536"/>
              <a:gd name="T73" fmla="*/ 124 h 1383"/>
              <a:gd name="T74" fmla="*/ 147 w 1536"/>
              <a:gd name="T75" fmla="*/ 352 h 1383"/>
              <a:gd name="T76" fmla="*/ 124 w 1536"/>
              <a:gd name="T77" fmla="*/ 179 h 1383"/>
              <a:gd name="T78" fmla="*/ 206 w 1536"/>
              <a:gd name="T79" fmla="*/ 147 h 1383"/>
              <a:gd name="T80" fmla="*/ 387 w 1536"/>
              <a:gd name="T81" fmla="*/ 232 h 1383"/>
              <a:gd name="T82" fmla="*/ 385 w 1536"/>
              <a:gd name="T83" fmla="*/ 613 h 1383"/>
              <a:gd name="T84" fmla="*/ 147 w 1536"/>
              <a:gd name="T85" fmla="*/ 352 h 1383"/>
              <a:gd name="T86" fmla="*/ 1389 w 1536"/>
              <a:gd name="T87" fmla="*/ 351 h 1383"/>
              <a:gd name="T88" fmla="*/ 1150 w 1536"/>
              <a:gd name="T89" fmla="*/ 613 h 1383"/>
              <a:gd name="T90" fmla="*/ 1149 w 1536"/>
              <a:gd name="T91" fmla="*/ 232 h 1383"/>
              <a:gd name="T92" fmla="*/ 1329 w 1536"/>
              <a:gd name="T93" fmla="*/ 147 h 1383"/>
              <a:gd name="T94" fmla="*/ 1411 w 1536"/>
              <a:gd name="T95" fmla="*/ 178 h 1383"/>
              <a:gd name="T96" fmla="*/ 1389 w 1536"/>
              <a:gd name="T97" fmla="*/ 351 h 1383"/>
              <a:gd name="T98" fmla="*/ 1389 w 1536"/>
              <a:gd name="T99" fmla="*/ 351 h 1383"/>
              <a:gd name="T100" fmla="*/ 1389 w 1536"/>
              <a:gd name="T101" fmla="*/ 351 h 1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536" h="1383">
                <a:moveTo>
                  <a:pt x="1493" y="124"/>
                </a:moveTo>
                <a:cubicBezTo>
                  <a:pt x="1460" y="74"/>
                  <a:pt x="1399" y="46"/>
                  <a:pt x="1326" y="49"/>
                </a:cubicBezTo>
                <a:cubicBezTo>
                  <a:pt x="1267" y="51"/>
                  <a:pt x="1200" y="83"/>
                  <a:pt x="1149" y="114"/>
                </a:cubicBezTo>
                <a:cubicBezTo>
                  <a:pt x="1149" y="114"/>
                  <a:pt x="1149" y="114"/>
                  <a:pt x="1149" y="114"/>
                </a:cubicBezTo>
                <a:cubicBezTo>
                  <a:pt x="1149" y="113"/>
                  <a:pt x="1149" y="111"/>
                  <a:pt x="1149" y="110"/>
                </a:cubicBezTo>
                <a:cubicBezTo>
                  <a:pt x="1149" y="49"/>
                  <a:pt x="1100" y="0"/>
                  <a:pt x="1039" y="0"/>
                </a:cubicBezTo>
                <a:cubicBezTo>
                  <a:pt x="1038" y="0"/>
                  <a:pt x="767" y="0"/>
                  <a:pt x="767" y="0"/>
                </a:cubicBezTo>
                <a:cubicBezTo>
                  <a:pt x="767" y="0"/>
                  <a:pt x="767" y="0"/>
                  <a:pt x="767" y="0"/>
                </a:cubicBezTo>
                <a:cubicBezTo>
                  <a:pt x="767" y="0"/>
                  <a:pt x="498" y="1"/>
                  <a:pt x="496" y="1"/>
                </a:cubicBezTo>
                <a:cubicBezTo>
                  <a:pt x="436" y="1"/>
                  <a:pt x="387" y="50"/>
                  <a:pt x="387" y="110"/>
                </a:cubicBezTo>
                <a:cubicBezTo>
                  <a:pt x="387" y="111"/>
                  <a:pt x="387" y="113"/>
                  <a:pt x="387" y="114"/>
                </a:cubicBezTo>
                <a:cubicBezTo>
                  <a:pt x="387" y="114"/>
                  <a:pt x="387" y="114"/>
                  <a:pt x="387" y="114"/>
                </a:cubicBezTo>
                <a:cubicBezTo>
                  <a:pt x="336" y="84"/>
                  <a:pt x="269" y="51"/>
                  <a:pt x="210" y="49"/>
                </a:cubicBezTo>
                <a:cubicBezTo>
                  <a:pt x="137" y="46"/>
                  <a:pt x="76" y="74"/>
                  <a:pt x="42" y="124"/>
                </a:cubicBezTo>
                <a:cubicBezTo>
                  <a:pt x="0" y="188"/>
                  <a:pt x="5" y="278"/>
                  <a:pt x="58" y="392"/>
                </a:cubicBezTo>
                <a:cubicBezTo>
                  <a:pt x="137" y="565"/>
                  <a:pt x="323" y="695"/>
                  <a:pt x="415" y="751"/>
                </a:cubicBezTo>
                <a:cubicBezTo>
                  <a:pt x="460" y="856"/>
                  <a:pt x="553" y="935"/>
                  <a:pt x="676" y="960"/>
                </a:cubicBezTo>
                <a:cubicBezTo>
                  <a:pt x="678" y="965"/>
                  <a:pt x="679" y="970"/>
                  <a:pt x="679" y="975"/>
                </a:cubicBezTo>
                <a:cubicBezTo>
                  <a:pt x="679" y="1143"/>
                  <a:pt x="679" y="1143"/>
                  <a:pt x="679" y="1143"/>
                </a:cubicBezTo>
                <a:cubicBezTo>
                  <a:pt x="606" y="1143"/>
                  <a:pt x="606" y="1143"/>
                  <a:pt x="606" y="1143"/>
                </a:cubicBezTo>
                <a:cubicBezTo>
                  <a:pt x="567" y="1143"/>
                  <a:pt x="536" y="1167"/>
                  <a:pt x="536" y="1197"/>
                </a:cubicBezTo>
                <a:cubicBezTo>
                  <a:pt x="536" y="1205"/>
                  <a:pt x="536" y="1205"/>
                  <a:pt x="536" y="1205"/>
                </a:cubicBezTo>
                <a:cubicBezTo>
                  <a:pt x="510" y="1205"/>
                  <a:pt x="510" y="1205"/>
                  <a:pt x="510" y="1205"/>
                </a:cubicBezTo>
                <a:cubicBezTo>
                  <a:pt x="462" y="1205"/>
                  <a:pt x="422" y="1244"/>
                  <a:pt x="422" y="1293"/>
                </a:cubicBezTo>
                <a:cubicBezTo>
                  <a:pt x="422" y="1383"/>
                  <a:pt x="422" y="1383"/>
                  <a:pt x="422" y="1383"/>
                </a:cubicBezTo>
                <a:cubicBezTo>
                  <a:pt x="637" y="1383"/>
                  <a:pt x="875" y="1383"/>
                  <a:pt x="1114" y="1383"/>
                </a:cubicBezTo>
                <a:cubicBezTo>
                  <a:pt x="1114" y="1293"/>
                  <a:pt x="1114" y="1293"/>
                  <a:pt x="1114" y="1293"/>
                </a:cubicBezTo>
                <a:cubicBezTo>
                  <a:pt x="1114" y="1244"/>
                  <a:pt x="1074" y="1204"/>
                  <a:pt x="1025" y="1204"/>
                </a:cubicBezTo>
                <a:cubicBezTo>
                  <a:pt x="1000" y="1204"/>
                  <a:pt x="1000" y="1204"/>
                  <a:pt x="1000" y="1204"/>
                </a:cubicBezTo>
                <a:cubicBezTo>
                  <a:pt x="1000" y="1197"/>
                  <a:pt x="1000" y="1197"/>
                  <a:pt x="1000" y="1197"/>
                </a:cubicBezTo>
                <a:cubicBezTo>
                  <a:pt x="1000" y="1167"/>
                  <a:pt x="969" y="1143"/>
                  <a:pt x="930" y="1143"/>
                </a:cubicBezTo>
                <a:cubicBezTo>
                  <a:pt x="856" y="1143"/>
                  <a:pt x="856" y="1143"/>
                  <a:pt x="856" y="1143"/>
                </a:cubicBezTo>
                <a:cubicBezTo>
                  <a:pt x="856" y="975"/>
                  <a:pt x="856" y="975"/>
                  <a:pt x="856" y="975"/>
                </a:cubicBezTo>
                <a:cubicBezTo>
                  <a:pt x="856" y="970"/>
                  <a:pt x="857" y="965"/>
                  <a:pt x="860" y="959"/>
                </a:cubicBezTo>
                <a:cubicBezTo>
                  <a:pt x="982" y="935"/>
                  <a:pt x="1075" y="856"/>
                  <a:pt x="1121" y="751"/>
                </a:cubicBezTo>
                <a:cubicBezTo>
                  <a:pt x="1213" y="695"/>
                  <a:pt x="1399" y="565"/>
                  <a:pt x="1478" y="392"/>
                </a:cubicBezTo>
                <a:cubicBezTo>
                  <a:pt x="1531" y="278"/>
                  <a:pt x="1536" y="187"/>
                  <a:pt x="1493" y="124"/>
                </a:cubicBezTo>
                <a:close/>
                <a:moveTo>
                  <a:pt x="147" y="352"/>
                </a:moveTo>
                <a:cubicBezTo>
                  <a:pt x="111" y="272"/>
                  <a:pt x="102" y="211"/>
                  <a:pt x="124" y="179"/>
                </a:cubicBezTo>
                <a:cubicBezTo>
                  <a:pt x="145" y="147"/>
                  <a:pt x="192" y="147"/>
                  <a:pt x="206" y="147"/>
                </a:cubicBezTo>
                <a:cubicBezTo>
                  <a:pt x="256" y="149"/>
                  <a:pt x="336" y="196"/>
                  <a:pt x="387" y="232"/>
                </a:cubicBezTo>
                <a:cubicBezTo>
                  <a:pt x="387" y="363"/>
                  <a:pt x="385" y="610"/>
                  <a:pt x="385" y="613"/>
                </a:cubicBezTo>
                <a:cubicBezTo>
                  <a:pt x="301" y="552"/>
                  <a:pt x="197" y="460"/>
                  <a:pt x="147" y="352"/>
                </a:cubicBezTo>
                <a:close/>
                <a:moveTo>
                  <a:pt x="1389" y="351"/>
                </a:moveTo>
                <a:cubicBezTo>
                  <a:pt x="1339" y="460"/>
                  <a:pt x="1235" y="552"/>
                  <a:pt x="1150" y="613"/>
                </a:cubicBezTo>
                <a:cubicBezTo>
                  <a:pt x="1151" y="610"/>
                  <a:pt x="1149" y="363"/>
                  <a:pt x="1149" y="232"/>
                </a:cubicBezTo>
                <a:cubicBezTo>
                  <a:pt x="1199" y="195"/>
                  <a:pt x="1279" y="149"/>
                  <a:pt x="1329" y="147"/>
                </a:cubicBezTo>
                <a:cubicBezTo>
                  <a:pt x="1343" y="146"/>
                  <a:pt x="1391" y="147"/>
                  <a:pt x="1411" y="178"/>
                </a:cubicBezTo>
                <a:cubicBezTo>
                  <a:pt x="1433" y="211"/>
                  <a:pt x="1425" y="272"/>
                  <a:pt x="1389" y="351"/>
                </a:cubicBezTo>
                <a:close/>
                <a:moveTo>
                  <a:pt x="1389" y="351"/>
                </a:moveTo>
                <a:cubicBezTo>
                  <a:pt x="1389" y="351"/>
                  <a:pt x="1389" y="351"/>
                  <a:pt x="1389" y="351"/>
                </a:cubicBez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Google Shape;46;p28">
            <a:extLst>
              <a:ext uri="{FF2B5EF4-FFF2-40B4-BE49-F238E27FC236}">
                <a16:creationId xmlns:a16="http://schemas.microsoft.com/office/drawing/2014/main" id="{285E62A9-38FF-7BB8-F18C-E9D898C82BE7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786566" y="4585743"/>
            <a:ext cx="964074" cy="638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None/>
              <a:tabLst/>
              <a:defRPr sz="4200" b="1">
                <a:solidFill>
                  <a:schemeClr val="bg1"/>
                </a:solidFill>
                <a:latin typeface="+mj-lt"/>
              </a:defRPr>
            </a:lvl1pPr>
            <a:lvl2pPr marL="306388" lvl="1" indent="-130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2pPr>
            <a:lvl3pPr marL="460375" lvl="2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3pPr>
            <a:lvl4pPr marL="576263" lvl="3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4pPr>
            <a:lvl5pPr marL="685800" lvl="4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600"/>
            </a:lvl5pPr>
            <a:lvl6pPr marL="800100" lvl="5" indent="0" algn="l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ct val="75000"/>
              <a:buNone/>
              <a:tabLst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0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03EE05-BF2E-AF99-9AB9-CDB471E92D7B}"/>
              </a:ext>
            </a:extLst>
          </p:cNvPr>
          <p:cNvSpPr txBox="1"/>
          <p:nvPr userDrawn="1"/>
        </p:nvSpPr>
        <p:spPr>
          <a:xfrm>
            <a:off x="1340614" y="786716"/>
            <a:ext cx="36584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Work</a:t>
            </a:r>
          </a:p>
          <a:p>
            <a:pPr algn="l"/>
            <a:r>
              <a:rPr lang="en-US" sz="20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Anniversar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A93D351-1A8E-062C-AACB-EFBA1CBBA1B4}"/>
              </a:ext>
            </a:extLst>
          </p:cNvPr>
          <p:cNvGrpSpPr/>
          <p:nvPr userDrawn="1"/>
        </p:nvGrpSpPr>
        <p:grpSpPr>
          <a:xfrm>
            <a:off x="511361" y="803544"/>
            <a:ext cx="673644" cy="673644"/>
            <a:chOff x="511361" y="803544"/>
            <a:chExt cx="673644" cy="673644"/>
          </a:xfrm>
        </p:grpSpPr>
        <p:sp>
          <p:nvSpPr>
            <p:cNvPr id="21" name="Rounded Rectangle 112">
              <a:extLst>
                <a:ext uri="{FF2B5EF4-FFF2-40B4-BE49-F238E27FC236}">
                  <a16:creationId xmlns:a16="http://schemas.microsoft.com/office/drawing/2014/main" id="{2C11B793-8359-A4CA-9FFE-D5EB8F96E47E}"/>
                </a:ext>
              </a:extLst>
            </p:cNvPr>
            <p:cNvSpPr/>
            <p:nvPr userDrawn="1"/>
          </p:nvSpPr>
          <p:spPr>
            <a:xfrm>
              <a:off x="511361" y="803544"/>
              <a:ext cx="673644" cy="673644"/>
            </a:xfrm>
            <a:prstGeom prst="rect">
              <a:avLst/>
            </a:prstGeom>
            <a:solidFill>
              <a:srgbClr val="0081C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740D9485-EADA-F307-BD40-6C31C3AEC6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2506" y="943346"/>
              <a:ext cx="437472" cy="394039"/>
            </a:xfrm>
            <a:custGeom>
              <a:avLst/>
              <a:gdLst>
                <a:gd name="T0" fmla="*/ 1493 w 1536"/>
                <a:gd name="T1" fmla="*/ 124 h 1383"/>
                <a:gd name="T2" fmla="*/ 1326 w 1536"/>
                <a:gd name="T3" fmla="*/ 49 h 1383"/>
                <a:gd name="T4" fmla="*/ 1149 w 1536"/>
                <a:gd name="T5" fmla="*/ 114 h 1383"/>
                <a:gd name="T6" fmla="*/ 1149 w 1536"/>
                <a:gd name="T7" fmla="*/ 114 h 1383"/>
                <a:gd name="T8" fmla="*/ 1149 w 1536"/>
                <a:gd name="T9" fmla="*/ 110 h 1383"/>
                <a:gd name="T10" fmla="*/ 1039 w 1536"/>
                <a:gd name="T11" fmla="*/ 0 h 1383"/>
                <a:gd name="T12" fmla="*/ 767 w 1536"/>
                <a:gd name="T13" fmla="*/ 0 h 1383"/>
                <a:gd name="T14" fmla="*/ 767 w 1536"/>
                <a:gd name="T15" fmla="*/ 0 h 1383"/>
                <a:gd name="T16" fmla="*/ 496 w 1536"/>
                <a:gd name="T17" fmla="*/ 1 h 1383"/>
                <a:gd name="T18" fmla="*/ 387 w 1536"/>
                <a:gd name="T19" fmla="*/ 110 h 1383"/>
                <a:gd name="T20" fmla="*/ 387 w 1536"/>
                <a:gd name="T21" fmla="*/ 114 h 1383"/>
                <a:gd name="T22" fmla="*/ 387 w 1536"/>
                <a:gd name="T23" fmla="*/ 114 h 1383"/>
                <a:gd name="T24" fmla="*/ 210 w 1536"/>
                <a:gd name="T25" fmla="*/ 49 h 1383"/>
                <a:gd name="T26" fmla="*/ 42 w 1536"/>
                <a:gd name="T27" fmla="*/ 124 h 1383"/>
                <a:gd name="T28" fmla="*/ 58 w 1536"/>
                <a:gd name="T29" fmla="*/ 392 h 1383"/>
                <a:gd name="T30" fmla="*/ 415 w 1536"/>
                <a:gd name="T31" fmla="*/ 751 h 1383"/>
                <a:gd name="T32" fmla="*/ 676 w 1536"/>
                <a:gd name="T33" fmla="*/ 960 h 1383"/>
                <a:gd name="T34" fmla="*/ 679 w 1536"/>
                <a:gd name="T35" fmla="*/ 975 h 1383"/>
                <a:gd name="T36" fmla="*/ 679 w 1536"/>
                <a:gd name="T37" fmla="*/ 1143 h 1383"/>
                <a:gd name="T38" fmla="*/ 606 w 1536"/>
                <a:gd name="T39" fmla="*/ 1143 h 1383"/>
                <a:gd name="T40" fmla="*/ 536 w 1536"/>
                <a:gd name="T41" fmla="*/ 1197 h 1383"/>
                <a:gd name="T42" fmla="*/ 536 w 1536"/>
                <a:gd name="T43" fmla="*/ 1205 h 1383"/>
                <a:gd name="T44" fmla="*/ 510 w 1536"/>
                <a:gd name="T45" fmla="*/ 1205 h 1383"/>
                <a:gd name="T46" fmla="*/ 422 w 1536"/>
                <a:gd name="T47" fmla="*/ 1293 h 1383"/>
                <a:gd name="T48" fmla="*/ 422 w 1536"/>
                <a:gd name="T49" fmla="*/ 1383 h 1383"/>
                <a:gd name="T50" fmla="*/ 1114 w 1536"/>
                <a:gd name="T51" fmla="*/ 1383 h 1383"/>
                <a:gd name="T52" fmla="*/ 1114 w 1536"/>
                <a:gd name="T53" fmla="*/ 1293 h 1383"/>
                <a:gd name="T54" fmla="*/ 1025 w 1536"/>
                <a:gd name="T55" fmla="*/ 1204 h 1383"/>
                <a:gd name="T56" fmla="*/ 1000 w 1536"/>
                <a:gd name="T57" fmla="*/ 1204 h 1383"/>
                <a:gd name="T58" fmla="*/ 1000 w 1536"/>
                <a:gd name="T59" fmla="*/ 1197 h 1383"/>
                <a:gd name="T60" fmla="*/ 930 w 1536"/>
                <a:gd name="T61" fmla="*/ 1143 h 1383"/>
                <a:gd name="T62" fmla="*/ 856 w 1536"/>
                <a:gd name="T63" fmla="*/ 1143 h 1383"/>
                <a:gd name="T64" fmla="*/ 856 w 1536"/>
                <a:gd name="T65" fmla="*/ 975 h 1383"/>
                <a:gd name="T66" fmla="*/ 860 w 1536"/>
                <a:gd name="T67" fmla="*/ 959 h 1383"/>
                <a:gd name="T68" fmla="*/ 1121 w 1536"/>
                <a:gd name="T69" fmla="*/ 751 h 1383"/>
                <a:gd name="T70" fmla="*/ 1478 w 1536"/>
                <a:gd name="T71" fmla="*/ 392 h 1383"/>
                <a:gd name="T72" fmla="*/ 1493 w 1536"/>
                <a:gd name="T73" fmla="*/ 124 h 1383"/>
                <a:gd name="T74" fmla="*/ 147 w 1536"/>
                <a:gd name="T75" fmla="*/ 352 h 1383"/>
                <a:gd name="T76" fmla="*/ 124 w 1536"/>
                <a:gd name="T77" fmla="*/ 179 h 1383"/>
                <a:gd name="T78" fmla="*/ 206 w 1536"/>
                <a:gd name="T79" fmla="*/ 147 h 1383"/>
                <a:gd name="T80" fmla="*/ 387 w 1536"/>
                <a:gd name="T81" fmla="*/ 232 h 1383"/>
                <a:gd name="T82" fmla="*/ 385 w 1536"/>
                <a:gd name="T83" fmla="*/ 613 h 1383"/>
                <a:gd name="T84" fmla="*/ 147 w 1536"/>
                <a:gd name="T85" fmla="*/ 352 h 1383"/>
                <a:gd name="T86" fmla="*/ 1389 w 1536"/>
                <a:gd name="T87" fmla="*/ 351 h 1383"/>
                <a:gd name="T88" fmla="*/ 1150 w 1536"/>
                <a:gd name="T89" fmla="*/ 613 h 1383"/>
                <a:gd name="T90" fmla="*/ 1149 w 1536"/>
                <a:gd name="T91" fmla="*/ 232 h 1383"/>
                <a:gd name="T92" fmla="*/ 1329 w 1536"/>
                <a:gd name="T93" fmla="*/ 147 h 1383"/>
                <a:gd name="T94" fmla="*/ 1411 w 1536"/>
                <a:gd name="T95" fmla="*/ 178 h 1383"/>
                <a:gd name="T96" fmla="*/ 1389 w 1536"/>
                <a:gd name="T97" fmla="*/ 351 h 1383"/>
                <a:gd name="T98" fmla="*/ 1389 w 1536"/>
                <a:gd name="T99" fmla="*/ 351 h 1383"/>
                <a:gd name="T100" fmla="*/ 1389 w 1536"/>
                <a:gd name="T101" fmla="*/ 351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36" h="1383">
                  <a:moveTo>
                    <a:pt x="1493" y="124"/>
                  </a:moveTo>
                  <a:cubicBezTo>
                    <a:pt x="1460" y="74"/>
                    <a:pt x="1399" y="46"/>
                    <a:pt x="1326" y="49"/>
                  </a:cubicBezTo>
                  <a:cubicBezTo>
                    <a:pt x="1267" y="51"/>
                    <a:pt x="1200" y="83"/>
                    <a:pt x="1149" y="114"/>
                  </a:cubicBezTo>
                  <a:cubicBezTo>
                    <a:pt x="1149" y="114"/>
                    <a:pt x="1149" y="114"/>
                    <a:pt x="1149" y="114"/>
                  </a:cubicBezTo>
                  <a:cubicBezTo>
                    <a:pt x="1149" y="113"/>
                    <a:pt x="1149" y="111"/>
                    <a:pt x="1149" y="110"/>
                  </a:cubicBezTo>
                  <a:cubicBezTo>
                    <a:pt x="1149" y="49"/>
                    <a:pt x="1100" y="0"/>
                    <a:pt x="1039" y="0"/>
                  </a:cubicBezTo>
                  <a:cubicBezTo>
                    <a:pt x="1038" y="0"/>
                    <a:pt x="767" y="0"/>
                    <a:pt x="767" y="0"/>
                  </a:cubicBezTo>
                  <a:cubicBezTo>
                    <a:pt x="767" y="0"/>
                    <a:pt x="767" y="0"/>
                    <a:pt x="767" y="0"/>
                  </a:cubicBezTo>
                  <a:cubicBezTo>
                    <a:pt x="767" y="0"/>
                    <a:pt x="498" y="1"/>
                    <a:pt x="496" y="1"/>
                  </a:cubicBezTo>
                  <a:cubicBezTo>
                    <a:pt x="436" y="1"/>
                    <a:pt x="387" y="50"/>
                    <a:pt x="387" y="110"/>
                  </a:cubicBezTo>
                  <a:cubicBezTo>
                    <a:pt x="387" y="111"/>
                    <a:pt x="387" y="113"/>
                    <a:pt x="387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36" y="84"/>
                    <a:pt x="269" y="51"/>
                    <a:pt x="210" y="49"/>
                  </a:cubicBezTo>
                  <a:cubicBezTo>
                    <a:pt x="137" y="46"/>
                    <a:pt x="76" y="74"/>
                    <a:pt x="42" y="124"/>
                  </a:cubicBezTo>
                  <a:cubicBezTo>
                    <a:pt x="0" y="188"/>
                    <a:pt x="5" y="278"/>
                    <a:pt x="58" y="392"/>
                  </a:cubicBezTo>
                  <a:cubicBezTo>
                    <a:pt x="137" y="565"/>
                    <a:pt x="323" y="695"/>
                    <a:pt x="415" y="751"/>
                  </a:cubicBezTo>
                  <a:cubicBezTo>
                    <a:pt x="460" y="856"/>
                    <a:pt x="553" y="935"/>
                    <a:pt x="676" y="960"/>
                  </a:cubicBezTo>
                  <a:cubicBezTo>
                    <a:pt x="678" y="965"/>
                    <a:pt x="679" y="970"/>
                    <a:pt x="679" y="975"/>
                  </a:cubicBezTo>
                  <a:cubicBezTo>
                    <a:pt x="679" y="1143"/>
                    <a:pt x="679" y="1143"/>
                    <a:pt x="679" y="1143"/>
                  </a:cubicBezTo>
                  <a:cubicBezTo>
                    <a:pt x="606" y="1143"/>
                    <a:pt x="606" y="1143"/>
                    <a:pt x="606" y="1143"/>
                  </a:cubicBezTo>
                  <a:cubicBezTo>
                    <a:pt x="567" y="1143"/>
                    <a:pt x="536" y="1167"/>
                    <a:pt x="536" y="1197"/>
                  </a:cubicBezTo>
                  <a:cubicBezTo>
                    <a:pt x="536" y="1205"/>
                    <a:pt x="536" y="1205"/>
                    <a:pt x="536" y="1205"/>
                  </a:cubicBezTo>
                  <a:cubicBezTo>
                    <a:pt x="510" y="1205"/>
                    <a:pt x="510" y="1205"/>
                    <a:pt x="510" y="1205"/>
                  </a:cubicBezTo>
                  <a:cubicBezTo>
                    <a:pt x="462" y="1205"/>
                    <a:pt x="422" y="1244"/>
                    <a:pt x="422" y="1293"/>
                  </a:cubicBezTo>
                  <a:cubicBezTo>
                    <a:pt x="422" y="1383"/>
                    <a:pt x="422" y="1383"/>
                    <a:pt x="422" y="1383"/>
                  </a:cubicBezTo>
                  <a:cubicBezTo>
                    <a:pt x="637" y="1383"/>
                    <a:pt x="875" y="1383"/>
                    <a:pt x="1114" y="1383"/>
                  </a:cubicBezTo>
                  <a:cubicBezTo>
                    <a:pt x="1114" y="1293"/>
                    <a:pt x="1114" y="1293"/>
                    <a:pt x="1114" y="1293"/>
                  </a:cubicBezTo>
                  <a:cubicBezTo>
                    <a:pt x="1114" y="1244"/>
                    <a:pt x="1074" y="1204"/>
                    <a:pt x="1025" y="1204"/>
                  </a:cubicBezTo>
                  <a:cubicBezTo>
                    <a:pt x="1000" y="1204"/>
                    <a:pt x="1000" y="1204"/>
                    <a:pt x="1000" y="1204"/>
                  </a:cubicBezTo>
                  <a:cubicBezTo>
                    <a:pt x="1000" y="1197"/>
                    <a:pt x="1000" y="1197"/>
                    <a:pt x="1000" y="1197"/>
                  </a:cubicBezTo>
                  <a:cubicBezTo>
                    <a:pt x="1000" y="1167"/>
                    <a:pt x="969" y="1143"/>
                    <a:pt x="930" y="1143"/>
                  </a:cubicBezTo>
                  <a:cubicBezTo>
                    <a:pt x="856" y="1143"/>
                    <a:pt x="856" y="1143"/>
                    <a:pt x="856" y="1143"/>
                  </a:cubicBezTo>
                  <a:cubicBezTo>
                    <a:pt x="856" y="975"/>
                    <a:pt x="856" y="975"/>
                    <a:pt x="856" y="975"/>
                  </a:cubicBezTo>
                  <a:cubicBezTo>
                    <a:pt x="856" y="970"/>
                    <a:pt x="857" y="965"/>
                    <a:pt x="860" y="959"/>
                  </a:cubicBezTo>
                  <a:cubicBezTo>
                    <a:pt x="982" y="935"/>
                    <a:pt x="1075" y="856"/>
                    <a:pt x="1121" y="751"/>
                  </a:cubicBezTo>
                  <a:cubicBezTo>
                    <a:pt x="1213" y="695"/>
                    <a:pt x="1399" y="565"/>
                    <a:pt x="1478" y="392"/>
                  </a:cubicBezTo>
                  <a:cubicBezTo>
                    <a:pt x="1531" y="278"/>
                    <a:pt x="1536" y="187"/>
                    <a:pt x="1493" y="124"/>
                  </a:cubicBezTo>
                  <a:close/>
                  <a:moveTo>
                    <a:pt x="147" y="352"/>
                  </a:moveTo>
                  <a:cubicBezTo>
                    <a:pt x="111" y="272"/>
                    <a:pt x="102" y="211"/>
                    <a:pt x="124" y="179"/>
                  </a:cubicBezTo>
                  <a:cubicBezTo>
                    <a:pt x="145" y="147"/>
                    <a:pt x="192" y="147"/>
                    <a:pt x="206" y="147"/>
                  </a:cubicBezTo>
                  <a:cubicBezTo>
                    <a:pt x="256" y="149"/>
                    <a:pt x="336" y="196"/>
                    <a:pt x="387" y="232"/>
                  </a:cubicBezTo>
                  <a:cubicBezTo>
                    <a:pt x="387" y="363"/>
                    <a:pt x="385" y="610"/>
                    <a:pt x="385" y="613"/>
                  </a:cubicBezTo>
                  <a:cubicBezTo>
                    <a:pt x="301" y="552"/>
                    <a:pt x="197" y="460"/>
                    <a:pt x="147" y="352"/>
                  </a:cubicBezTo>
                  <a:close/>
                  <a:moveTo>
                    <a:pt x="1389" y="351"/>
                  </a:moveTo>
                  <a:cubicBezTo>
                    <a:pt x="1339" y="460"/>
                    <a:pt x="1235" y="552"/>
                    <a:pt x="1150" y="613"/>
                  </a:cubicBezTo>
                  <a:cubicBezTo>
                    <a:pt x="1151" y="610"/>
                    <a:pt x="1149" y="363"/>
                    <a:pt x="1149" y="232"/>
                  </a:cubicBezTo>
                  <a:cubicBezTo>
                    <a:pt x="1199" y="195"/>
                    <a:pt x="1279" y="149"/>
                    <a:pt x="1329" y="147"/>
                  </a:cubicBezTo>
                  <a:cubicBezTo>
                    <a:pt x="1343" y="146"/>
                    <a:pt x="1391" y="147"/>
                    <a:pt x="1411" y="178"/>
                  </a:cubicBezTo>
                  <a:cubicBezTo>
                    <a:pt x="1433" y="211"/>
                    <a:pt x="1425" y="272"/>
                    <a:pt x="1389" y="351"/>
                  </a:cubicBezTo>
                  <a:close/>
                  <a:moveTo>
                    <a:pt x="1389" y="351"/>
                  </a:moveTo>
                  <a:cubicBezTo>
                    <a:pt x="1389" y="351"/>
                    <a:pt x="1389" y="351"/>
                    <a:pt x="1389" y="35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30" name="Google Shape;83;g9a74927944_2_2">
            <a:extLst>
              <a:ext uri="{FF2B5EF4-FFF2-40B4-BE49-F238E27FC236}">
                <a16:creationId xmlns:a16="http://schemas.microsoft.com/office/drawing/2014/main" id="{7836695F-3143-E5FC-0274-AD21C042E79A}"/>
              </a:ext>
            </a:extLst>
          </p:cNvPr>
          <p:cNvSpPr txBox="1">
            <a:spLocks noGrp="1"/>
          </p:cNvSpPr>
          <p:nvPr>
            <p:ph type="body" idx="22"/>
          </p:nvPr>
        </p:nvSpPr>
        <p:spPr>
          <a:xfrm>
            <a:off x="511361" y="1696471"/>
            <a:ext cx="4671024" cy="6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2400" b="0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36705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;p24">
            <a:extLst>
              <a:ext uri="{FF2B5EF4-FFF2-40B4-BE49-F238E27FC236}">
                <a16:creationId xmlns:a16="http://schemas.microsoft.com/office/drawing/2014/main" id="{8F9EE846-F4D2-117D-DC0E-495C7EFAB6A3}"/>
              </a:ext>
            </a:extLst>
          </p:cNvPr>
          <p:cNvSpPr/>
          <p:nvPr userDrawn="1"/>
        </p:nvSpPr>
        <p:spPr>
          <a:xfrm rot="10800000">
            <a:off x="-1" y="0"/>
            <a:ext cx="12191998" cy="6858000"/>
          </a:xfrm>
          <a:prstGeom prst="rect">
            <a:avLst/>
          </a:prstGeom>
          <a:gradFill flip="none" rotWithShape="1">
            <a:gsLst>
              <a:gs pos="55000">
                <a:srgbClr val="151521"/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+mn-lt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9" name="Picture 8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5AFC86A8-67DE-3C45-16EF-899F6F17A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1000"/>
          </a:blip>
          <a:srcRect l="9834"/>
          <a:stretch/>
        </p:blipFill>
        <p:spPr>
          <a:xfrm>
            <a:off x="-1" y="52418"/>
            <a:ext cx="12192001" cy="6805582"/>
          </a:xfrm>
          <a:prstGeom prst="rect">
            <a:avLst/>
          </a:prstGeom>
          <a:noFill/>
          <a:effectLst/>
        </p:spPr>
      </p:pic>
      <p:sp>
        <p:nvSpPr>
          <p:cNvPr id="7" name="Google Shape;83;g9a74927944_2_2">
            <a:extLst>
              <a:ext uri="{FF2B5EF4-FFF2-40B4-BE49-F238E27FC236}">
                <a16:creationId xmlns:a16="http://schemas.microsoft.com/office/drawing/2014/main" id="{6E3745C4-1803-F783-C073-F2723924C7E1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55349" y="3672491"/>
            <a:ext cx="8004000" cy="15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b" anchorCtr="0">
            <a:noAutofit/>
          </a:bodyPr>
          <a:lstStyle>
            <a:lvl1pPr marL="635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 sz="3600" b="1" i="0" u="none" strike="noStrike" cap="none">
                <a:solidFill>
                  <a:schemeClr val="bg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4;g9a74927944_2_2">
            <a:extLst>
              <a:ext uri="{FF2B5EF4-FFF2-40B4-BE49-F238E27FC236}">
                <a16:creationId xmlns:a16="http://schemas.microsoft.com/office/drawing/2014/main" id="{DD4D4277-A166-7493-7606-A56478374779}"/>
              </a:ext>
            </a:extLst>
          </p:cNvPr>
          <p:cNvSpPr txBox="1">
            <a:spLocks noGrp="1"/>
          </p:cNvSpPr>
          <p:nvPr>
            <p:ph type="body" idx="11"/>
          </p:nvPr>
        </p:nvSpPr>
        <p:spPr>
          <a:xfrm>
            <a:off x="355348" y="5354164"/>
            <a:ext cx="7996400" cy="4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sz="1800" b="0" i="0" u="none" strike="noStrike" cap="none">
                <a:solidFill>
                  <a:schemeClr val="accent1"/>
                </a:solidFill>
                <a:latin typeface="+mj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" name="Picture 1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EAC9DEFB-7B77-5AB6-2AAA-3C90DB2C0E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294" y="6335371"/>
            <a:ext cx="1779397" cy="49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643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ansition Slide 2" preserve="1" userDrawn="1">
  <p:cSld name="Transition Slide 2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;p24">
            <a:extLst>
              <a:ext uri="{FF2B5EF4-FFF2-40B4-BE49-F238E27FC236}">
                <a16:creationId xmlns:a16="http://schemas.microsoft.com/office/drawing/2014/main" id="{5188B5B4-1993-2690-53B7-7B8C2BD23255}"/>
              </a:ext>
            </a:extLst>
          </p:cNvPr>
          <p:cNvSpPr/>
          <p:nvPr userDrawn="1"/>
        </p:nvSpPr>
        <p:spPr>
          <a:xfrm rot="10800000">
            <a:off x="-1" y="0"/>
            <a:ext cx="12191998" cy="6858000"/>
          </a:xfrm>
          <a:prstGeom prst="rect">
            <a:avLst/>
          </a:prstGeom>
          <a:gradFill flip="none" rotWithShape="1">
            <a:gsLst>
              <a:gs pos="55000">
                <a:srgbClr val="151521"/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+mn-lt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3" name="Picture 2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85B0F49A-6B8C-CC0E-7216-8917E384C0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1000"/>
          </a:blip>
          <a:srcRect l="9834"/>
          <a:stretch/>
        </p:blipFill>
        <p:spPr>
          <a:xfrm>
            <a:off x="0" y="52418"/>
            <a:ext cx="12192000" cy="6805582"/>
          </a:xfrm>
          <a:prstGeom prst="rect">
            <a:avLst/>
          </a:prstGeom>
          <a:noFill/>
          <a:effectLst/>
        </p:spPr>
      </p:pic>
    </p:spTree>
    <p:extLst>
      <p:ext uri="{BB962C8B-B14F-4D97-AF65-F5344CB8AC3E}">
        <p14:creationId xmlns:p14="http://schemas.microsoft.com/office/powerpoint/2010/main" val="34663260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;p24">
            <a:extLst>
              <a:ext uri="{FF2B5EF4-FFF2-40B4-BE49-F238E27FC236}">
                <a16:creationId xmlns:a16="http://schemas.microsoft.com/office/drawing/2014/main" id="{8F9EE846-F4D2-117D-DC0E-495C7EFAB6A3}"/>
              </a:ext>
            </a:extLst>
          </p:cNvPr>
          <p:cNvSpPr/>
          <p:nvPr userDrawn="1"/>
        </p:nvSpPr>
        <p:spPr>
          <a:xfrm rot="10800000">
            <a:off x="-1" y="0"/>
            <a:ext cx="12191998" cy="6858000"/>
          </a:xfrm>
          <a:prstGeom prst="rect">
            <a:avLst/>
          </a:prstGeom>
          <a:gradFill flip="none" rotWithShape="1">
            <a:gsLst>
              <a:gs pos="55000">
                <a:srgbClr val="151521"/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+mn-lt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9" name="Picture 8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5AFC86A8-67DE-3C45-16EF-899F6F17A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1000"/>
          </a:blip>
          <a:srcRect l="9834"/>
          <a:stretch/>
        </p:blipFill>
        <p:spPr>
          <a:xfrm>
            <a:off x="0" y="52418"/>
            <a:ext cx="12192000" cy="6805582"/>
          </a:xfrm>
          <a:prstGeom prst="rect">
            <a:avLst/>
          </a:prstGeom>
          <a:noFill/>
          <a:effectLst/>
        </p:spPr>
      </p:pic>
      <p:sp>
        <p:nvSpPr>
          <p:cNvPr id="8" name="Google Shape;84;g9a74927944_2_2">
            <a:extLst>
              <a:ext uri="{FF2B5EF4-FFF2-40B4-BE49-F238E27FC236}">
                <a16:creationId xmlns:a16="http://schemas.microsoft.com/office/drawing/2014/main" id="{DD4D4277-A166-7493-7606-A56478374779}"/>
              </a:ext>
            </a:extLst>
          </p:cNvPr>
          <p:cNvSpPr txBox="1">
            <a:spLocks noGrp="1"/>
          </p:cNvSpPr>
          <p:nvPr>
            <p:ph type="body" idx="11"/>
          </p:nvPr>
        </p:nvSpPr>
        <p:spPr>
          <a:xfrm>
            <a:off x="310897" y="4871849"/>
            <a:ext cx="6206912" cy="4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25" rIns="0" bIns="60925" anchor="t" anchorCtr="0">
            <a:noAutofit/>
          </a:bodyPr>
          <a:lstStyle>
            <a:lvl1pPr marL="635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sz="1800" b="0" i="0" u="none" strike="noStrike" cap="none">
                <a:solidFill>
                  <a:schemeClr val="bg1"/>
                </a:solidFill>
                <a:latin typeface="+mn-lt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9CA27C-9179-6309-92E1-0DCCE8F788A4}"/>
              </a:ext>
            </a:extLst>
          </p:cNvPr>
          <p:cNvSpPr txBox="1"/>
          <p:nvPr userDrawn="1"/>
        </p:nvSpPr>
        <p:spPr>
          <a:xfrm>
            <a:off x="310896" y="1089322"/>
            <a:ext cx="1868982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4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Ques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789C1-7699-B59A-F6D6-2C7079039C38}"/>
              </a:ext>
            </a:extLst>
          </p:cNvPr>
          <p:cNvSpPr txBox="1"/>
          <p:nvPr userDrawn="1"/>
        </p:nvSpPr>
        <p:spPr>
          <a:xfrm>
            <a:off x="310896" y="4523159"/>
            <a:ext cx="163213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2400" b="1">
                <a:solidFill>
                  <a:schemeClr val="bg1"/>
                </a:solidFill>
                <a:latin typeface="+mj-lt"/>
                <a:cs typeface="Poppins" panose="00000500000000000000" pitchFamily="2" charset="0"/>
              </a:rPr>
              <a:t>Answer: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6119671-D830-7E43-291D-37ABDF2210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0895" y="1473176"/>
            <a:ext cx="6206913" cy="2700379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8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FDDCC88E-F113-AA32-6708-4679D3424F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294" y="6335371"/>
            <a:ext cx="1779397" cy="499658"/>
          </a:xfrm>
          <a:prstGeom prst="rect">
            <a:avLst/>
          </a:prstGeom>
        </p:spPr>
      </p:pic>
      <p:sp>
        <p:nvSpPr>
          <p:cNvPr id="11" name="Google Shape;13;p23">
            <a:extLst>
              <a:ext uri="{FF2B5EF4-FFF2-40B4-BE49-F238E27FC236}">
                <a16:creationId xmlns:a16="http://schemas.microsoft.com/office/drawing/2014/main" id="{B346F2E3-8412-C020-FB7D-F8C4DF57C19E}"/>
              </a:ext>
            </a:extLst>
          </p:cNvPr>
          <p:cNvSpPr txBox="1"/>
          <p:nvPr userDrawn="1"/>
        </p:nvSpPr>
        <p:spPr>
          <a:xfrm>
            <a:off x="5013425" y="6531127"/>
            <a:ext cx="2165145" cy="210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accent6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t>©2024 Patch My PC. All rights reserved.</a:t>
            </a:r>
            <a:endParaRPr sz="800" b="1" i="0" u="none" strike="noStrike" cap="none">
              <a:solidFill>
                <a:schemeClr val="accent6"/>
              </a:solidFill>
              <a:latin typeface="+mj-lt"/>
              <a:ea typeface="Roboto" panose="020000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2" name="Google Shape;13;p23">
            <a:extLst>
              <a:ext uri="{FF2B5EF4-FFF2-40B4-BE49-F238E27FC236}">
                <a16:creationId xmlns:a16="http://schemas.microsoft.com/office/drawing/2014/main" id="{CD9BFFC4-594E-F4ED-B082-8A7C56643B81}"/>
              </a:ext>
            </a:extLst>
          </p:cNvPr>
          <p:cNvSpPr txBox="1"/>
          <p:nvPr userDrawn="1"/>
        </p:nvSpPr>
        <p:spPr>
          <a:xfrm>
            <a:off x="11324771" y="6535813"/>
            <a:ext cx="584198" cy="210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accent4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t> </a:t>
            </a:r>
            <a:fld id="{00000000-1234-1234-1234-123412341234}" type="slidenum">
              <a:rPr lang="en-US" sz="800" b="0" i="0" u="none" strike="noStrike" cap="none" smtClean="0">
                <a:solidFill>
                  <a:srgbClr val="0081C6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Clr>
                  <a:schemeClr val="accent4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81C6"/>
              </a:solidFill>
              <a:latin typeface="+mj-lt"/>
              <a:ea typeface="Roboto" panose="02000000000000000000" pitchFamily="2" charset="0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6625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4;p28">
            <a:extLst>
              <a:ext uri="{FF2B5EF4-FFF2-40B4-BE49-F238E27FC236}">
                <a16:creationId xmlns:a16="http://schemas.microsoft.com/office/drawing/2014/main" id="{C9C1B616-6B26-BC91-072D-995DC75C454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0" y="262889"/>
            <a:ext cx="11521824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  <a:cs typeface="Poppins" pitchFamily="2" charset="77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42158D-D7B9-7EF0-C36C-38F0508004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230" y="1225806"/>
            <a:ext cx="11521824" cy="470001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8409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3;p32">
            <a:extLst>
              <a:ext uri="{FF2B5EF4-FFF2-40B4-BE49-F238E27FC236}">
                <a16:creationId xmlns:a16="http://schemas.microsoft.com/office/drawing/2014/main" id="{6262C4D1-1995-B214-9A7A-780E6E66E237}"/>
              </a:ext>
            </a:extLst>
          </p:cNvPr>
          <p:cNvCxnSpPr/>
          <p:nvPr userDrawn="1"/>
        </p:nvCxnSpPr>
        <p:spPr>
          <a:xfrm>
            <a:off x="6096000" y="1223474"/>
            <a:ext cx="1" cy="4411051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Google Shape;204;p52">
            <a:extLst>
              <a:ext uri="{FF2B5EF4-FFF2-40B4-BE49-F238E27FC236}">
                <a16:creationId xmlns:a16="http://schemas.microsoft.com/office/drawing/2014/main" id="{3442A215-45A5-07F3-3FC4-042CEB7AECB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096000" y="-1"/>
            <a:ext cx="6096001" cy="5929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bg1"/>
                </a:solidFill>
                <a:latin typeface="+mn-lt"/>
                <a:ea typeface="Lato"/>
                <a:cs typeface="Poppins" pitchFamily="2" charset="77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" name="Google Shape;44;p28">
            <a:extLst>
              <a:ext uri="{FF2B5EF4-FFF2-40B4-BE49-F238E27FC236}">
                <a16:creationId xmlns:a16="http://schemas.microsoft.com/office/drawing/2014/main" id="{9E841128-4576-2114-64F1-B990E2F9409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0" y="262889"/>
            <a:ext cx="5501739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  <a:cs typeface="Poppins" pitchFamily="2" charset="77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348008-6D39-DA8D-FE5E-FF502C1421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230" y="1225806"/>
            <a:ext cx="5501728" cy="470001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331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44;p28">
            <a:extLst>
              <a:ext uri="{FF2B5EF4-FFF2-40B4-BE49-F238E27FC236}">
                <a16:creationId xmlns:a16="http://schemas.microsoft.com/office/drawing/2014/main" id="{686F8C8D-ED3A-D85C-4D95-5C2FE87A430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0" y="262889"/>
            <a:ext cx="11521824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E6A5980-C997-0B44-1C95-AEF1383253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230" y="1225806"/>
            <a:ext cx="5501728" cy="470001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9E1FE6-8A11-5DD2-D57B-371CB29EBE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1326" y="1220672"/>
            <a:ext cx="5501728" cy="4700015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Google Shape;63;p32">
            <a:extLst>
              <a:ext uri="{FF2B5EF4-FFF2-40B4-BE49-F238E27FC236}">
                <a16:creationId xmlns:a16="http://schemas.microsoft.com/office/drawing/2014/main" id="{4CDB38C4-C2C2-7518-B5BF-5C2384E3FAAC}"/>
              </a:ext>
            </a:extLst>
          </p:cNvPr>
          <p:cNvCxnSpPr/>
          <p:nvPr userDrawn="1"/>
        </p:nvCxnSpPr>
        <p:spPr>
          <a:xfrm>
            <a:off x="6061328" y="1223474"/>
            <a:ext cx="1" cy="4411051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54887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 preserve="1" userDrawn="1">
  <p:cSld name="1_Quote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3;p32">
            <a:extLst>
              <a:ext uri="{FF2B5EF4-FFF2-40B4-BE49-F238E27FC236}">
                <a16:creationId xmlns:a16="http://schemas.microsoft.com/office/drawing/2014/main" id="{6262C4D1-1995-B214-9A7A-780E6E66E237}"/>
              </a:ext>
            </a:extLst>
          </p:cNvPr>
          <p:cNvCxnSpPr/>
          <p:nvPr userDrawn="1"/>
        </p:nvCxnSpPr>
        <p:spPr>
          <a:xfrm>
            <a:off x="6061328" y="1223474"/>
            <a:ext cx="1" cy="4411051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44;p28">
            <a:extLst>
              <a:ext uri="{FF2B5EF4-FFF2-40B4-BE49-F238E27FC236}">
                <a16:creationId xmlns:a16="http://schemas.microsoft.com/office/drawing/2014/main" id="{324428FC-452D-BB4A-2E8C-764E353726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230" y="262889"/>
            <a:ext cx="11521833" cy="4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635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  <a:tabLst/>
              <a:defRPr sz="2400" b="1">
                <a:solidFill>
                  <a:schemeClr val="bg1"/>
                </a:solidFill>
                <a:latin typeface="+mj-lt"/>
              </a:defRPr>
            </a:lvl1pPr>
            <a:lvl2pPr marL="914400" lvl="1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2pPr>
            <a:lvl3pPr marL="1371600" lvl="2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3pPr>
            <a:lvl4pPr marL="1828800" lvl="3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4pPr>
            <a:lvl5pPr marL="2286000" lvl="4" indent="-31432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" name="Google Shape;204;p52">
            <a:extLst>
              <a:ext uri="{FF2B5EF4-FFF2-40B4-BE49-F238E27FC236}">
                <a16:creationId xmlns:a16="http://schemas.microsoft.com/office/drawing/2014/main" id="{8B7F3B7D-2D51-E356-A766-E232E6AA732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31325" y="3592594"/>
            <a:ext cx="5501738" cy="2332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bg1"/>
                </a:solidFill>
                <a:latin typeface="+mn-lt"/>
                <a:ea typeface="Lato"/>
                <a:cs typeface="Poppins" panose="00000500000000000000" pitchFamily="2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4" name="Google Shape;204;p52">
            <a:extLst>
              <a:ext uri="{FF2B5EF4-FFF2-40B4-BE49-F238E27FC236}">
                <a16:creationId xmlns:a16="http://schemas.microsoft.com/office/drawing/2014/main" id="{5EAFE027-F906-6F81-591D-962E3CBF02CF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314922" y="3592594"/>
            <a:ext cx="5501738" cy="2332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bg1"/>
                </a:solidFill>
                <a:latin typeface="+mn-lt"/>
                <a:ea typeface="Lato"/>
                <a:cs typeface="Poppins" panose="00000500000000000000" pitchFamily="2" charset="0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200"/>
              <a:buFont typeface="Lato"/>
              <a:buChar char="–"/>
              <a:defRPr sz="12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Lato"/>
              <a:buChar char="–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Lato"/>
              <a:buChar char="•"/>
              <a:defRPr sz="1400" b="0" i="0" u="none" strike="noStrike" cap="none">
                <a:solidFill>
                  <a:srgbClr val="40404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10BA991-736C-D223-A8FE-973DBA25BD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230" y="1225806"/>
            <a:ext cx="5501728" cy="224111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E1F732-F2E8-2D5B-2B05-7614C7C758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31335" y="1225807"/>
            <a:ext cx="5501728" cy="2241112"/>
          </a:xfrm>
          <a:prstGeom prst="rect">
            <a:avLst/>
          </a:prstGeom>
        </p:spPr>
        <p:txBody>
          <a:bodyPr lIns="0" rIns="0"/>
          <a:lstStyle>
            <a:lvl1pPr marL="0" indent="0"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600" dirty="0" smtClean="0">
                <a:solidFill>
                  <a:schemeClr val="bg1"/>
                </a:solidFill>
                <a:latin typeface="+mn-lt"/>
              </a:defRPr>
            </a:lvl1pPr>
            <a:lvl2pPr marL="18288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2pPr>
            <a:lvl3pPr marL="32004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400" dirty="0" smtClean="0">
                <a:solidFill>
                  <a:schemeClr val="bg1"/>
                </a:solidFill>
                <a:latin typeface="+mn-lt"/>
              </a:defRPr>
            </a:lvl3pPr>
            <a:lvl4pPr marL="45720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 smtClean="0">
                <a:solidFill>
                  <a:schemeClr val="bg1"/>
                </a:solidFill>
                <a:latin typeface="+mn-lt"/>
              </a:defRPr>
            </a:lvl4pPr>
            <a:lvl5pPr marL="594360" indent="0">
              <a:spcBef>
                <a:spcPts val="300"/>
              </a:spcBef>
              <a:buClr>
                <a:schemeClr val="accent1"/>
              </a:buClr>
              <a:buSzPct val="115000"/>
              <a:buFont typeface="Arial" panose="020B0604020202020204" pitchFamily="34" charset="0"/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2340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28A0D6B-6D60-161F-3613-BF7C338B0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9E09C91-A44F-1311-BDAE-81F6BC2FA9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955507B-BFCF-3EF7-CA83-DA71A2DAF9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88F091A-5132-4598-B4AF-9BC6CC4BE99E}" type="datetimeFigureOut">
              <a:rPr lang="nl-BE" smtClean="0"/>
              <a:t>28/10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9FEB0AA-BE63-8D4C-C51B-750C590726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16B6780-185E-8D49-2191-BD7AEEF321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F5D565-D442-49A9-A915-666C9349248F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9880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8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6;p24">
            <a:extLst>
              <a:ext uri="{FF2B5EF4-FFF2-40B4-BE49-F238E27FC236}">
                <a16:creationId xmlns:a16="http://schemas.microsoft.com/office/drawing/2014/main" id="{F5645FC3-6F3C-85B9-6C54-24E4E4D2703A}"/>
              </a:ext>
            </a:extLst>
          </p:cNvPr>
          <p:cNvSpPr/>
          <p:nvPr userDrawn="1"/>
        </p:nvSpPr>
        <p:spPr>
          <a:xfrm rot="10800000">
            <a:off x="0" y="0"/>
            <a:ext cx="12188952" cy="6858000"/>
          </a:xfrm>
          <a:prstGeom prst="rect">
            <a:avLst/>
          </a:prstGeom>
          <a:gradFill flip="none" rotWithShape="1">
            <a:gsLst>
              <a:gs pos="55000">
                <a:srgbClr val="151521">
                  <a:lumMod val="98000"/>
                </a:srgbClr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5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D4FA91A1-E2AF-53D6-4642-4622783CB64D}"/>
              </a:ext>
            </a:extLst>
          </p:cNvPr>
          <p:cNvPicPr/>
          <p:nvPr userDrawn="1"/>
        </p:nvPicPr>
        <p:blipFill rotWithShape="1">
          <a:blip r:embed="rId22">
            <a:alphaModFix amt="11000"/>
          </a:blip>
          <a:srcRect l="9834"/>
          <a:stretch/>
        </p:blipFill>
        <p:spPr>
          <a:xfrm>
            <a:off x="0" y="52418"/>
            <a:ext cx="12192000" cy="6805582"/>
          </a:xfrm>
          <a:prstGeom prst="rect">
            <a:avLst/>
          </a:prstGeom>
          <a:noFill/>
          <a:effectLst/>
        </p:spPr>
      </p:pic>
      <p:pic>
        <p:nvPicPr>
          <p:cNvPr id="10" name="Picture 9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3BD4925F-21A4-4E4A-B1B2-68A484F83707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255294" y="6335371"/>
            <a:ext cx="1779397" cy="499658"/>
          </a:xfrm>
          <a:prstGeom prst="rect">
            <a:avLst/>
          </a:prstGeom>
        </p:spPr>
      </p:pic>
      <p:sp>
        <p:nvSpPr>
          <p:cNvPr id="11" name="Google Shape;13;p23">
            <a:extLst>
              <a:ext uri="{FF2B5EF4-FFF2-40B4-BE49-F238E27FC236}">
                <a16:creationId xmlns:a16="http://schemas.microsoft.com/office/drawing/2014/main" id="{6216BD49-F8D0-7249-C792-765B313B9586}"/>
              </a:ext>
            </a:extLst>
          </p:cNvPr>
          <p:cNvSpPr txBox="1"/>
          <p:nvPr userDrawn="1"/>
        </p:nvSpPr>
        <p:spPr>
          <a:xfrm>
            <a:off x="5013425" y="6531127"/>
            <a:ext cx="2165145" cy="210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accent6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t>©2024 Patch My PC. All rights reserved.</a:t>
            </a:r>
            <a:endParaRPr sz="800" b="1" i="0" u="none" strike="noStrike" cap="none">
              <a:solidFill>
                <a:schemeClr val="accent6"/>
              </a:solidFill>
              <a:latin typeface="+mj-lt"/>
              <a:ea typeface="Roboto" panose="020000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12" name="Google Shape;13;p23">
            <a:extLst>
              <a:ext uri="{FF2B5EF4-FFF2-40B4-BE49-F238E27FC236}">
                <a16:creationId xmlns:a16="http://schemas.microsoft.com/office/drawing/2014/main" id="{63F6BF37-632C-0A1B-BCCE-62CF1C291422}"/>
              </a:ext>
            </a:extLst>
          </p:cNvPr>
          <p:cNvSpPr txBox="1"/>
          <p:nvPr userDrawn="1"/>
        </p:nvSpPr>
        <p:spPr>
          <a:xfrm>
            <a:off x="11324771" y="6535813"/>
            <a:ext cx="584198" cy="210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accent4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t> </a:t>
            </a:r>
            <a:fld id="{00000000-1234-1234-1234-123412341234}" type="slidenum">
              <a:rPr lang="en-US" sz="800" b="0" i="0" u="none" strike="noStrike" cap="none" smtClean="0">
                <a:solidFill>
                  <a:srgbClr val="0081C6"/>
                </a:solidFill>
                <a:latin typeface="+mj-lt"/>
                <a:ea typeface="Roboto" panose="02000000000000000000" pitchFamily="2" charset="0"/>
                <a:cs typeface="Poppins" panose="00000500000000000000" pitchFamily="2" charset="0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Clr>
                  <a:schemeClr val="accent4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81C6"/>
              </a:solidFill>
              <a:latin typeface="+mj-lt"/>
              <a:ea typeface="Roboto" panose="02000000000000000000" pitchFamily="2" charset="0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5906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Poppins" panose="00000500000000000000" pitchFamily="2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81C6"/>
        </a:buClr>
        <a:buFont typeface="Arial"/>
        <a:defRPr sz="1400" b="0" i="0" u="none" strike="noStrike" cap="none">
          <a:solidFill>
            <a:srgbClr val="000000"/>
          </a:solidFill>
          <a:latin typeface="Roboto" panose="02000000000000000000" pitchFamily="2" charset="0"/>
          <a:ea typeface="Roboto" panose="02000000000000000000" pitchFamily="2" charset="0"/>
          <a:cs typeface="Poppins" panose="00000500000000000000" pitchFamily="2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image" Target="../media/image1.png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73.png"/><Relationship Id="rId1" Type="http://schemas.openxmlformats.org/officeDocument/2006/relationships/tags" Target="../tags/tag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svg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1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jpeg"/><Relationship Id="rId18" Type="http://schemas.openxmlformats.org/officeDocument/2006/relationships/image" Target="../media/image97.jpeg"/><Relationship Id="rId26" Type="http://schemas.openxmlformats.org/officeDocument/2006/relationships/image" Target="../media/image105.png"/><Relationship Id="rId3" Type="http://schemas.openxmlformats.org/officeDocument/2006/relationships/image" Target="../media/image82.png"/><Relationship Id="rId21" Type="http://schemas.openxmlformats.org/officeDocument/2006/relationships/image" Target="../media/image100.jpeg"/><Relationship Id="rId7" Type="http://schemas.openxmlformats.org/officeDocument/2006/relationships/image" Target="../media/image86.jpeg"/><Relationship Id="rId12" Type="http://schemas.openxmlformats.org/officeDocument/2006/relationships/image" Target="../media/image91.jpeg"/><Relationship Id="rId17" Type="http://schemas.openxmlformats.org/officeDocument/2006/relationships/image" Target="../media/image96.jpeg"/><Relationship Id="rId25" Type="http://schemas.openxmlformats.org/officeDocument/2006/relationships/image" Target="../media/image104.png"/><Relationship Id="rId33" Type="http://schemas.openxmlformats.org/officeDocument/2006/relationships/hyperlink" Target="https://patchmypc.com/customer-testimonials" TargetMode="External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95.jpeg"/><Relationship Id="rId20" Type="http://schemas.openxmlformats.org/officeDocument/2006/relationships/image" Target="../media/image99.jpeg"/><Relationship Id="rId29" Type="http://schemas.openxmlformats.org/officeDocument/2006/relationships/image" Target="../media/image10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11" Type="http://schemas.openxmlformats.org/officeDocument/2006/relationships/image" Target="../media/image90.jpeg"/><Relationship Id="rId24" Type="http://schemas.openxmlformats.org/officeDocument/2006/relationships/image" Target="../media/image103.jpeg"/><Relationship Id="rId32" Type="http://schemas.openxmlformats.org/officeDocument/2006/relationships/image" Target="../media/image111.png"/><Relationship Id="rId5" Type="http://schemas.openxmlformats.org/officeDocument/2006/relationships/image" Target="../media/image84.png"/><Relationship Id="rId15" Type="http://schemas.openxmlformats.org/officeDocument/2006/relationships/image" Target="../media/image94.jpeg"/><Relationship Id="rId23" Type="http://schemas.openxmlformats.org/officeDocument/2006/relationships/image" Target="../media/image102.jpeg"/><Relationship Id="rId28" Type="http://schemas.openxmlformats.org/officeDocument/2006/relationships/image" Target="../media/image107.png"/><Relationship Id="rId10" Type="http://schemas.openxmlformats.org/officeDocument/2006/relationships/image" Target="../media/image89.jpeg"/><Relationship Id="rId19" Type="http://schemas.openxmlformats.org/officeDocument/2006/relationships/image" Target="../media/image98.jpeg"/><Relationship Id="rId31" Type="http://schemas.openxmlformats.org/officeDocument/2006/relationships/image" Target="../media/image110.pn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jpeg"/><Relationship Id="rId22" Type="http://schemas.openxmlformats.org/officeDocument/2006/relationships/image" Target="../media/image101.jpeg"/><Relationship Id="rId27" Type="http://schemas.openxmlformats.org/officeDocument/2006/relationships/image" Target="../media/image106.png"/><Relationship Id="rId30" Type="http://schemas.openxmlformats.org/officeDocument/2006/relationships/image" Target="../media/image109.png"/><Relationship Id="rId8" Type="http://schemas.openxmlformats.org/officeDocument/2006/relationships/image" Target="../media/image8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7.png"/><Relationship Id="rId5" Type="http://schemas.openxmlformats.org/officeDocument/2006/relationships/image" Target="../media/image116.svg"/><Relationship Id="rId4" Type="http://schemas.openxmlformats.org/officeDocument/2006/relationships/image" Target="../media/image1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png"/><Relationship Id="rId7" Type="http://schemas.openxmlformats.org/officeDocument/2006/relationships/image" Target="../media/image122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png"/><Relationship Id="rId11" Type="http://schemas.openxmlformats.org/officeDocument/2006/relationships/image" Target="../media/image126.svg"/><Relationship Id="rId5" Type="http://schemas.openxmlformats.org/officeDocument/2006/relationships/image" Target="../media/image120.svg"/><Relationship Id="rId10" Type="http://schemas.openxmlformats.org/officeDocument/2006/relationships/image" Target="../media/image125.png"/><Relationship Id="rId4" Type="http://schemas.openxmlformats.org/officeDocument/2006/relationships/image" Target="../media/image119.png"/><Relationship Id="rId9" Type="http://schemas.openxmlformats.org/officeDocument/2006/relationships/image" Target="../media/image124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svg"/><Relationship Id="rId13" Type="http://schemas.openxmlformats.org/officeDocument/2006/relationships/image" Target="../media/image137.gif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12" Type="http://schemas.openxmlformats.org/officeDocument/2006/relationships/image" Target="../media/image136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.svg"/><Relationship Id="rId11" Type="http://schemas.openxmlformats.org/officeDocument/2006/relationships/image" Target="../media/image135.png"/><Relationship Id="rId5" Type="http://schemas.openxmlformats.org/officeDocument/2006/relationships/image" Target="../media/image129.png"/><Relationship Id="rId10" Type="http://schemas.openxmlformats.org/officeDocument/2006/relationships/image" Target="../media/image134.svg"/><Relationship Id="rId4" Type="http://schemas.openxmlformats.org/officeDocument/2006/relationships/image" Target="../media/image128.svg"/><Relationship Id="rId9" Type="http://schemas.openxmlformats.org/officeDocument/2006/relationships/image" Target="../media/image13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svg"/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svg"/><Relationship Id="rId11" Type="http://schemas.openxmlformats.org/officeDocument/2006/relationships/image" Target="../media/image146.svg"/><Relationship Id="rId5" Type="http://schemas.openxmlformats.org/officeDocument/2006/relationships/image" Target="../media/image140.png"/><Relationship Id="rId10" Type="http://schemas.openxmlformats.org/officeDocument/2006/relationships/image" Target="../media/image145.png"/><Relationship Id="rId4" Type="http://schemas.openxmlformats.org/officeDocument/2006/relationships/image" Target="../media/image139.svg"/><Relationship Id="rId9" Type="http://schemas.openxmlformats.org/officeDocument/2006/relationships/image" Target="../media/image1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9.png"/><Relationship Id="rId4" Type="http://schemas.openxmlformats.org/officeDocument/2006/relationships/image" Target="../media/image1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svg"/><Relationship Id="rId13" Type="http://schemas.openxmlformats.org/officeDocument/2006/relationships/image" Target="../media/image119.png"/><Relationship Id="rId3" Type="http://schemas.openxmlformats.org/officeDocument/2006/relationships/image" Target="../media/image121.png"/><Relationship Id="rId7" Type="http://schemas.openxmlformats.org/officeDocument/2006/relationships/image" Target="../media/image151.png"/><Relationship Id="rId12" Type="http://schemas.openxmlformats.org/officeDocument/2006/relationships/image" Target="../media/image156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4.svg"/><Relationship Id="rId11" Type="http://schemas.openxmlformats.org/officeDocument/2006/relationships/image" Target="../media/image155.png"/><Relationship Id="rId5" Type="http://schemas.openxmlformats.org/officeDocument/2006/relationships/image" Target="../media/image123.png"/><Relationship Id="rId10" Type="http://schemas.openxmlformats.org/officeDocument/2006/relationships/image" Target="../media/image154.svg"/><Relationship Id="rId4" Type="http://schemas.openxmlformats.org/officeDocument/2006/relationships/image" Target="../media/image122.svg"/><Relationship Id="rId9" Type="http://schemas.openxmlformats.org/officeDocument/2006/relationships/image" Target="../media/image153.png"/><Relationship Id="rId14" Type="http://schemas.openxmlformats.org/officeDocument/2006/relationships/image" Target="../media/image157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svg"/><Relationship Id="rId13" Type="http://schemas.openxmlformats.org/officeDocument/2006/relationships/image" Target="../media/image137.gif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12" Type="http://schemas.openxmlformats.org/officeDocument/2006/relationships/image" Target="../media/image136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.svg"/><Relationship Id="rId11" Type="http://schemas.openxmlformats.org/officeDocument/2006/relationships/image" Target="../media/image135.png"/><Relationship Id="rId5" Type="http://schemas.openxmlformats.org/officeDocument/2006/relationships/image" Target="../media/image129.png"/><Relationship Id="rId10" Type="http://schemas.openxmlformats.org/officeDocument/2006/relationships/image" Target="../media/image134.svg"/><Relationship Id="rId4" Type="http://schemas.openxmlformats.org/officeDocument/2006/relationships/image" Target="../media/image128.svg"/><Relationship Id="rId9" Type="http://schemas.openxmlformats.org/officeDocument/2006/relationships/image" Target="../media/image13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svg"/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svg"/><Relationship Id="rId11" Type="http://schemas.openxmlformats.org/officeDocument/2006/relationships/image" Target="../media/image158.png"/><Relationship Id="rId5" Type="http://schemas.openxmlformats.org/officeDocument/2006/relationships/image" Target="../media/image140.png"/><Relationship Id="rId10" Type="http://schemas.openxmlformats.org/officeDocument/2006/relationships/image" Target="../media/image146.svg"/><Relationship Id="rId4" Type="http://schemas.openxmlformats.org/officeDocument/2006/relationships/image" Target="../media/image139.svg"/><Relationship Id="rId9" Type="http://schemas.openxmlformats.org/officeDocument/2006/relationships/image" Target="../media/image14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jpe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13" Type="http://schemas.openxmlformats.org/officeDocument/2006/relationships/image" Target="../media/image167.svg"/><Relationship Id="rId3" Type="http://schemas.openxmlformats.org/officeDocument/2006/relationships/image" Target="../media/image159.png"/><Relationship Id="rId7" Type="http://schemas.openxmlformats.org/officeDocument/2006/relationships/image" Target="../media/image163.svg"/><Relationship Id="rId12" Type="http://schemas.openxmlformats.org/officeDocument/2006/relationships/image" Target="../media/image16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2.png"/><Relationship Id="rId11" Type="http://schemas.openxmlformats.org/officeDocument/2006/relationships/image" Target="../media/image165.svg"/><Relationship Id="rId5" Type="http://schemas.openxmlformats.org/officeDocument/2006/relationships/image" Target="../media/image161.png"/><Relationship Id="rId10" Type="http://schemas.openxmlformats.org/officeDocument/2006/relationships/image" Target="../media/image164.png"/><Relationship Id="rId4" Type="http://schemas.openxmlformats.org/officeDocument/2006/relationships/image" Target="../media/image160.svg"/><Relationship Id="rId9" Type="http://schemas.openxmlformats.org/officeDocument/2006/relationships/image" Target="../media/image14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9.svg"/><Relationship Id="rId4" Type="http://schemas.openxmlformats.org/officeDocument/2006/relationships/image" Target="../media/image1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svg"/><Relationship Id="rId13" Type="http://schemas.openxmlformats.org/officeDocument/2006/relationships/image" Target="../media/image179.png"/><Relationship Id="rId3" Type="http://schemas.openxmlformats.org/officeDocument/2006/relationships/image" Target="../media/image153.png"/><Relationship Id="rId7" Type="http://schemas.openxmlformats.org/officeDocument/2006/relationships/image" Target="../media/image177.png"/><Relationship Id="rId12" Type="http://schemas.openxmlformats.org/officeDocument/2006/relationships/image" Target="../media/image124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6.svg"/><Relationship Id="rId11" Type="http://schemas.openxmlformats.org/officeDocument/2006/relationships/image" Target="../media/image123.png"/><Relationship Id="rId5" Type="http://schemas.openxmlformats.org/officeDocument/2006/relationships/image" Target="../media/image155.png"/><Relationship Id="rId10" Type="http://schemas.openxmlformats.org/officeDocument/2006/relationships/image" Target="../media/image122.svg"/><Relationship Id="rId4" Type="http://schemas.openxmlformats.org/officeDocument/2006/relationships/image" Target="../media/image154.svg"/><Relationship Id="rId9" Type="http://schemas.openxmlformats.org/officeDocument/2006/relationships/image" Target="../media/image121.png"/><Relationship Id="rId14" Type="http://schemas.openxmlformats.org/officeDocument/2006/relationships/image" Target="../media/image180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82.svg"/><Relationship Id="rId5" Type="http://schemas.openxmlformats.org/officeDocument/2006/relationships/image" Target="../media/image115.png"/><Relationship Id="rId4" Type="http://schemas.openxmlformats.org/officeDocument/2006/relationships/image" Target="../media/image18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86.png"/><Relationship Id="rId4" Type="http://schemas.openxmlformats.org/officeDocument/2006/relationships/image" Target="../media/image18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5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8.svg"/><Relationship Id="rId20" Type="http://schemas.openxmlformats.org/officeDocument/2006/relationships/image" Target="../media/image32.png"/><Relationship Id="rId29" Type="http://schemas.openxmlformats.org/officeDocument/2006/relationships/image" Target="../media/image41.png"/><Relationship Id="rId1" Type="http://schemas.openxmlformats.org/officeDocument/2006/relationships/tags" Target="../tags/tag1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24" Type="http://schemas.openxmlformats.org/officeDocument/2006/relationships/image" Target="../media/image36.png"/><Relationship Id="rId32" Type="http://schemas.openxmlformats.org/officeDocument/2006/relationships/image" Target="../media/image44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2.svg"/><Relationship Id="rId19" Type="http://schemas.openxmlformats.org/officeDocument/2006/relationships/image" Target="../media/image31.png"/><Relationship Id="rId31" Type="http://schemas.openxmlformats.org/officeDocument/2006/relationships/image" Target="../media/image43.png"/><Relationship Id="rId4" Type="http://schemas.openxmlformats.org/officeDocument/2006/relationships/image" Target="../media/image4.jpeg"/><Relationship Id="rId9" Type="http://schemas.openxmlformats.org/officeDocument/2006/relationships/image" Target="../media/image21.png"/><Relationship Id="rId14" Type="http://schemas.openxmlformats.org/officeDocument/2006/relationships/image" Target="../media/image26.svg"/><Relationship Id="rId22" Type="http://schemas.openxmlformats.org/officeDocument/2006/relationships/image" Target="../media/image3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88.png"/><Relationship Id="rId4" Type="http://schemas.openxmlformats.org/officeDocument/2006/relationships/image" Target="../media/image18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46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1.png"/><Relationship Id="rId4" Type="http://schemas.openxmlformats.org/officeDocument/2006/relationships/image" Target="../media/image19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.xml"/><Relationship Id="rId1" Type="http://schemas.openxmlformats.org/officeDocument/2006/relationships/video" Target="https://www.youtube.com/embed/4t4YnYDxcD0?feature=oembed" TargetMode="External"/><Relationship Id="rId6" Type="http://schemas.openxmlformats.org/officeDocument/2006/relationships/image" Target="../media/image172.png"/><Relationship Id="rId5" Type="http://schemas.openxmlformats.org/officeDocument/2006/relationships/image" Target="../media/image193.jpeg"/><Relationship Id="rId4" Type="http://schemas.openxmlformats.org/officeDocument/2006/relationships/image" Target="../media/image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5.svg"/><Relationship Id="rId4" Type="http://schemas.openxmlformats.org/officeDocument/2006/relationships/image" Target="../media/image19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3" Type="http://schemas.openxmlformats.org/officeDocument/2006/relationships/image" Target="../media/image2.png"/><Relationship Id="rId7" Type="http://schemas.openxmlformats.org/officeDocument/2006/relationships/image" Target="../media/image197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6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199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1.svg"/><Relationship Id="rId4" Type="http://schemas.openxmlformats.org/officeDocument/2006/relationships/image" Target="../media/image20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png"/><Relationship Id="rId13" Type="http://schemas.openxmlformats.org/officeDocument/2006/relationships/image" Target="../media/image211.svg"/><Relationship Id="rId3" Type="http://schemas.openxmlformats.org/officeDocument/2006/relationships/image" Target="../media/image2.png"/><Relationship Id="rId7" Type="http://schemas.openxmlformats.org/officeDocument/2006/relationships/image" Target="../media/image205.svg"/><Relationship Id="rId12" Type="http://schemas.openxmlformats.org/officeDocument/2006/relationships/image" Target="../media/image21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4.png"/><Relationship Id="rId11" Type="http://schemas.openxmlformats.org/officeDocument/2006/relationships/image" Target="../media/image209.svg"/><Relationship Id="rId5" Type="http://schemas.openxmlformats.org/officeDocument/2006/relationships/image" Target="../media/image203.svg"/><Relationship Id="rId10" Type="http://schemas.openxmlformats.org/officeDocument/2006/relationships/image" Target="../media/image208.png"/><Relationship Id="rId4" Type="http://schemas.openxmlformats.org/officeDocument/2006/relationships/image" Target="../media/image202.png"/><Relationship Id="rId9" Type="http://schemas.openxmlformats.org/officeDocument/2006/relationships/image" Target="../media/image207.svg"/><Relationship Id="rId14" Type="http://schemas.openxmlformats.org/officeDocument/2006/relationships/image" Target="../media/image2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8.jpeg"/><Relationship Id="rId11" Type="http://schemas.openxmlformats.org/officeDocument/2006/relationships/image" Target="../media/image53.png"/><Relationship Id="rId5" Type="http://schemas.openxmlformats.org/officeDocument/2006/relationships/image" Target="../media/image46.svg"/><Relationship Id="rId10" Type="http://schemas.openxmlformats.org/officeDocument/2006/relationships/image" Target="../media/image52.svg"/><Relationship Id="rId4" Type="http://schemas.openxmlformats.org/officeDocument/2006/relationships/image" Target="../media/image45.png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svg"/><Relationship Id="rId18" Type="http://schemas.openxmlformats.org/officeDocument/2006/relationships/image" Target="../media/image6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2.svg"/><Relationship Id="rId12" Type="http://schemas.openxmlformats.org/officeDocument/2006/relationships/image" Target="../media/image57.png"/><Relationship Id="rId17" Type="http://schemas.openxmlformats.org/officeDocument/2006/relationships/image" Target="../media/image48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59.png"/><Relationship Id="rId1" Type="http://schemas.openxmlformats.org/officeDocument/2006/relationships/tags" Target="../tags/tag3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46.svg"/><Relationship Id="rId15" Type="http://schemas.openxmlformats.org/officeDocument/2006/relationships/image" Target="../media/image50.svg"/><Relationship Id="rId10" Type="http://schemas.openxmlformats.org/officeDocument/2006/relationships/image" Target="../media/image55.png"/><Relationship Id="rId4" Type="http://schemas.openxmlformats.org/officeDocument/2006/relationships/image" Target="../media/image45.png"/><Relationship Id="rId9" Type="http://schemas.openxmlformats.org/officeDocument/2006/relationships/image" Target="../media/image54.svg"/><Relationship Id="rId1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6;p24">
            <a:extLst>
              <a:ext uri="{FF2B5EF4-FFF2-40B4-BE49-F238E27FC236}">
                <a16:creationId xmlns:a16="http://schemas.microsoft.com/office/drawing/2014/main" id="{AD0E936D-BB4E-C370-CFCC-845CB9D1C5A9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5000">
                <a:srgbClr val="151521">
                  <a:lumMod val="98000"/>
                </a:srgbClr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5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A2FBD826-E9DC-51FA-E874-222715F5642E}"/>
              </a:ext>
            </a:extLst>
          </p:cNvPr>
          <p:cNvPicPr/>
          <p:nvPr/>
        </p:nvPicPr>
        <p:blipFill rotWithShape="1">
          <a:blip r:embed="rId2">
            <a:alphaModFix amt="11000"/>
          </a:blip>
          <a:srcRect l="9834"/>
          <a:stretch/>
        </p:blipFill>
        <p:spPr>
          <a:xfrm>
            <a:off x="0" y="52418"/>
            <a:ext cx="12192000" cy="6805582"/>
          </a:xfrm>
          <a:prstGeom prst="rect">
            <a:avLst/>
          </a:prstGeom>
          <a:noFill/>
          <a:effectLst/>
        </p:spPr>
      </p:pic>
      <p:grpSp>
        <p:nvGrpSpPr>
          <p:cNvPr id="6" name="!!my">
            <a:extLst>
              <a:ext uri="{FF2B5EF4-FFF2-40B4-BE49-F238E27FC236}">
                <a16:creationId xmlns:a16="http://schemas.microsoft.com/office/drawing/2014/main" id="{7C034E54-51E3-A5D7-2DD8-98CCD31CC56C}"/>
              </a:ext>
            </a:extLst>
          </p:cNvPr>
          <p:cNvGrpSpPr/>
          <p:nvPr/>
        </p:nvGrpSpPr>
        <p:grpSpPr>
          <a:xfrm>
            <a:off x="7130928" y="3123183"/>
            <a:ext cx="1615446" cy="611633"/>
            <a:chOff x="7130928" y="2960374"/>
            <a:chExt cx="1615446" cy="611633"/>
          </a:xfr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B3F85A2B-9AB3-70F7-2652-2A972814F328}"/>
                </a:ext>
              </a:extLst>
            </p:cNvPr>
            <p:cNvSpPr/>
            <p:nvPr/>
          </p:nvSpPr>
          <p:spPr>
            <a:xfrm>
              <a:off x="7130928" y="2960374"/>
              <a:ext cx="807723" cy="611524"/>
            </a:xfrm>
            <a:custGeom>
              <a:avLst/>
              <a:gdLst>
                <a:gd name="connsiteX0" fmla="*/ 0 w 807723"/>
                <a:gd name="connsiteY0" fmla="*/ 0 h 611524"/>
                <a:gd name="connsiteX1" fmla="*/ 219564 w 807723"/>
                <a:gd name="connsiteY1" fmla="*/ 0 h 611524"/>
                <a:gd name="connsiteX2" fmla="*/ 407792 w 807723"/>
                <a:gd name="connsiteY2" fmla="*/ 411614 h 611524"/>
                <a:gd name="connsiteX3" fmla="*/ 603881 w 807723"/>
                <a:gd name="connsiteY3" fmla="*/ 0 h 611524"/>
                <a:gd name="connsiteX4" fmla="*/ 807723 w 807723"/>
                <a:gd name="connsiteY4" fmla="*/ 0 h 611524"/>
                <a:gd name="connsiteX5" fmla="*/ 807723 w 807723"/>
                <a:gd name="connsiteY5" fmla="*/ 611525 h 611524"/>
                <a:gd name="connsiteX6" fmla="*/ 647008 w 807723"/>
                <a:gd name="connsiteY6" fmla="*/ 611525 h 611524"/>
                <a:gd name="connsiteX7" fmla="*/ 647008 w 807723"/>
                <a:gd name="connsiteY7" fmla="*/ 207772 h 611524"/>
                <a:gd name="connsiteX8" fmla="*/ 466641 w 807723"/>
                <a:gd name="connsiteY8" fmla="*/ 611525 h 611524"/>
                <a:gd name="connsiteX9" fmla="*/ 337261 w 807723"/>
                <a:gd name="connsiteY9" fmla="*/ 611525 h 611524"/>
                <a:gd name="connsiteX10" fmla="*/ 156893 w 807723"/>
                <a:gd name="connsiteY10" fmla="*/ 207772 h 611524"/>
                <a:gd name="connsiteX11" fmla="*/ 156893 w 807723"/>
                <a:gd name="connsiteY11" fmla="*/ 611525 h 611524"/>
                <a:gd name="connsiteX12" fmla="*/ 109 w 807723"/>
                <a:gd name="connsiteY12" fmla="*/ 611525 h 611524"/>
                <a:gd name="connsiteX13" fmla="*/ 109 w 807723"/>
                <a:gd name="connsiteY13" fmla="*/ 0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7723" h="611524">
                  <a:moveTo>
                    <a:pt x="0" y="0"/>
                  </a:moveTo>
                  <a:lnTo>
                    <a:pt x="219564" y="0"/>
                  </a:lnTo>
                  <a:lnTo>
                    <a:pt x="407792" y="411614"/>
                  </a:lnTo>
                  <a:lnTo>
                    <a:pt x="603881" y="0"/>
                  </a:lnTo>
                  <a:lnTo>
                    <a:pt x="807723" y="0"/>
                  </a:lnTo>
                  <a:lnTo>
                    <a:pt x="807723" y="611525"/>
                  </a:lnTo>
                  <a:lnTo>
                    <a:pt x="647008" y="611525"/>
                  </a:lnTo>
                  <a:lnTo>
                    <a:pt x="647008" y="207772"/>
                  </a:lnTo>
                  <a:lnTo>
                    <a:pt x="466641" y="611525"/>
                  </a:lnTo>
                  <a:lnTo>
                    <a:pt x="337261" y="611525"/>
                  </a:lnTo>
                  <a:lnTo>
                    <a:pt x="156893" y="207772"/>
                  </a:lnTo>
                  <a:lnTo>
                    <a:pt x="156893" y="611525"/>
                  </a:lnTo>
                  <a:lnTo>
                    <a:pt x="109" y="611525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CB238089-CA08-090F-6631-12538971B89E}"/>
                </a:ext>
              </a:extLst>
            </p:cNvPr>
            <p:cNvSpPr/>
            <p:nvPr/>
          </p:nvSpPr>
          <p:spPr>
            <a:xfrm>
              <a:off x="8005361" y="2960374"/>
              <a:ext cx="741013" cy="611633"/>
            </a:xfrm>
            <a:custGeom>
              <a:avLst/>
              <a:gdLst>
                <a:gd name="connsiteX0" fmla="*/ 294025 w 741013"/>
                <a:gd name="connsiteY0" fmla="*/ 388140 h 611633"/>
                <a:gd name="connsiteX1" fmla="*/ 0 w 741013"/>
                <a:gd name="connsiteY1" fmla="*/ 0 h 611633"/>
                <a:gd name="connsiteX2" fmla="*/ 203841 w 741013"/>
                <a:gd name="connsiteY2" fmla="*/ 0 h 611633"/>
                <a:gd name="connsiteX3" fmla="*/ 380279 w 741013"/>
                <a:gd name="connsiteY3" fmla="*/ 246968 h 611633"/>
                <a:gd name="connsiteX4" fmla="*/ 556715 w 741013"/>
                <a:gd name="connsiteY4" fmla="*/ 0 h 611633"/>
                <a:gd name="connsiteX5" fmla="*/ 741013 w 741013"/>
                <a:gd name="connsiteY5" fmla="*/ 0 h 611633"/>
                <a:gd name="connsiteX6" fmla="*/ 458671 w 741013"/>
                <a:gd name="connsiteY6" fmla="*/ 388140 h 611633"/>
                <a:gd name="connsiteX7" fmla="*/ 458671 w 741013"/>
                <a:gd name="connsiteY7" fmla="*/ 611634 h 611633"/>
                <a:gd name="connsiteX8" fmla="*/ 294025 w 741013"/>
                <a:gd name="connsiteY8" fmla="*/ 611634 h 611633"/>
                <a:gd name="connsiteX9" fmla="*/ 294025 w 741013"/>
                <a:gd name="connsiteY9" fmla="*/ 388140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1013" h="611633">
                  <a:moveTo>
                    <a:pt x="294025" y="388140"/>
                  </a:moveTo>
                  <a:lnTo>
                    <a:pt x="0" y="0"/>
                  </a:lnTo>
                  <a:lnTo>
                    <a:pt x="203841" y="0"/>
                  </a:lnTo>
                  <a:lnTo>
                    <a:pt x="380279" y="246968"/>
                  </a:lnTo>
                  <a:lnTo>
                    <a:pt x="556715" y="0"/>
                  </a:lnTo>
                  <a:lnTo>
                    <a:pt x="741013" y="0"/>
                  </a:lnTo>
                  <a:lnTo>
                    <a:pt x="458671" y="388140"/>
                  </a:lnTo>
                  <a:lnTo>
                    <a:pt x="458671" y="611634"/>
                  </a:lnTo>
                  <a:lnTo>
                    <a:pt x="294025" y="611634"/>
                  </a:lnTo>
                  <a:lnTo>
                    <a:pt x="294025" y="38814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9" name="!!pc">
            <a:extLst>
              <a:ext uri="{FF2B5EF4-FFF2-40B4-BE49-F238E27FC236}">
                <a16:creationId xmlns:a16="http://schemas.microsoft.com/office/drawing/2014/main" id="{06384FBA-F358-E667-AF90-6AA16500EF30}"/>
              </a:ext>
            </a:extLst>
          </p:cNvPr>
          <p:cNvGrpSpPr/>
          <p:nvPr/>
        </p:nvGrpSpPr>
        <p:grpSpPr>
          <a:xfrm>
            <a:off x="9036469" y="3123183"/>
            <a:ext cx="1442830" cy="611634"/>
            <a:chOff x="9036469" y="2960374"/>
            <a:chExt cx="1442830" cy="611634"/>
          </a:xfr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399A680C-16F3-5B39-8AD0-5699142450E2}"/>
                </a:ext>
              </a:extLst>
            </p:cNvPr>
            <p:cNvSpPr/>
            <p:nvPr/>
          </p:nvSpPr>
          <p:spPr>
            <a:xfrm>
              <a:off x="9036469" y="2960374"/>
              <a:ext cx="643077" cy="611524"/>
            </a:xfrm>
            <a:custGeom>
              <a:avLst/>
              <a:gdLst>
                <a:gd name="connsiteX0" fmla="*/ 164646 w 643077"/>
                <a:gd name="connsiteY0" fmla="*/ 415544 h 611524"/>
                <a:gd name="connsiteX1" fmla="*/ 164646 w 643077"/>
                <a:gd name="connsiteY1" fmla="*/ 611525 h 611524"/>
                <a:gd name="connsiteX2" fmla="*/ 0 w 643077"/>
                <a:gd name="connsiteY2" fmla="*/ 611525 h 611524"/>
                <a:gd name="connsiteX3" fmla="*/ 0 w 643077"/>
                <a:gd name="connsiteY3" fmla="*/ 0 h 611524"/>
                <a:gd name="connsiteX4" fmla="*/ 399931 w 643077"/>
                <a:gd name="connsiteY4" fmla="*/ 0 h 611524"/>
                <a:gd name="connsiteX5" fmla="*/ 643077 w 643077"/>
                <a:gd name="connsiteY5" fmla="*/ 203842 h 611524"/>
                <a:gd name="connsiteX6" fmla="*/ 643077 w 643077"/>
                <a:gd name="connsiteY6" fmla="*/ 211703 h 611524"/>
                <a:gd name="connsiteX7" fmla="*/ 399931 w 643077"/>
                <a:gd name="connsiteY7" fmla="*/ 415544 h 611524"/>
                <a:gd name="connsiteX8" fmla="*/ 164646 w 643077"/>
                <a:gd name="connsiteY8" fmla="*/ 415544 h 611524"/>
                <a:gd name="connsiteX9" fmla="*/ 164646 w 643077"/>
                <a:gd name="connsiteY9" fmla="*/ 282343 h 611524"/>
                <a:gd name="connsiteX10" fmla="*/ 388139 w 643077"/>
                <a:gd name="connsiteY10" fmla="*/ 282343 h 611524"/>
                <a:gd name="connsiteX11" fmla="*/ 474393 w 643077"/>
                <a:gd name="connsiteY11" fmla="*/ 211812 h 611524"/>
                <a:gd name="connsiteX12" fmla="*/ 474393 w 643077"/>
                <a:gd name="connsiteY12" fmla="*/ 207881 h 611524"/>
                <a:gd name="connsiteX13" fmla="*/ 388139 w 643077"/>
                <a:gd name="connsiteY13" fmla="*/ 137350 h 611524"/>
                <a:gd name="connsiteX14" fmla="*/ 164646 w 643077"/>
                <a:gd name="connsiteY14" fmla="*/ 137350 h 611524"/>
                <a:gd name="connsiteX15" fmla="*/ 164646 w 643077"/>
                <a:gd name="connsiteY15" fmla="*/ 282343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3077" h="611524">
                  <a:moveTo>
                    <a:pt x="164646" y="415544"/>
                  </a:moveTo>
                  <a:lnTo>
                    <a:pt x="164646" y="611525"/>
                  </a:lnTo>
                  <a:lnTo>
                    <a:pt x="0" y="611525"/>
                  </a:lnTo>
                  <a:lnTo>
                    <a:pt x="0" y="0"/>
                  </a:lnTo>
                  <a:lnTo>
                    <a:pt x="399931" y="0"/>
                  </a:lnTo>
                  <a:cubicBezTo>
                    <a:pt x="588160" y="0"/>
                    <a:pt x="643077" y="86253"/>
                    <a:pt x="643077" y="203842"/>
                  </a:cubicBezTo>
                  <a:lnTo>
                    <a:pt x="643077" y="211703"/>
                  </a:lnTo>
                  <a:cubicBezTo>
                    <a:pt x="643077" y="329291"/>
                    <a:pt x="584229" y="415544"/>
                    <a:pt x="399931" y="415544"/>
                  </a:cubicBezTo>
                  <a:lnTo>
                    <a:pt x="164646" y="415544"/>
                  </a:lnTo>
                  <a:close/>
                  <a:moveTo>
                    <a:pt x="164646" y="282343"/>
                  </a:moveTo>
                  <a:lnTo>
                    <a:pt x="388139" y="282343"/>
                  </a:lnTo>
                  <a:cubicBezTo>
                    <a:pt x="446988" y="282343"/>
                    <a:pt x="474393" y="258869"/>
                    <a:pt x="474393" y="211812"/>
                  </a:cubicBezTo>
                  <a:lnTo>
                    <a:pt x="474393" y="207881"/>
                  </a:lnTo>
                  <a:cubicBezTo>
                    <a:pt x="474393" y="164755"/>
                    <a:pt x="446988" y="137350"/>
                    <a:pt x="388139" y="137350"/>
                  </a:cubicBezTo>
                  <a:lnTo>
                    <a:pt x="164646" y="137350"/>
                  </a:lnTo>
                  <a:lnTo>
                    <a:pt x="164646" y="282343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076B429D-54B5-5135-C055-DCD77FD11A5B}"/>
                </a:ext>
              </a:extLst>
            </p:cNvPr>
            <p:cNvSpPr/>
            <p:nvPr/>
          </p:nvSpPr>
          <p:spPr>
            <a:xfrm>
              <a:off x="9765800" y="2960484"/>
              <a:ext cx="713499" cy="611524"/>
            </a:xfrm>
            <a:custGeom>
              <a:avLst/>
              <a:gdLst>
                <a:gd name="connsiteX0" fmla="*/ 345013 w 713499"/>
                <a:gd name="connsiteY0" fmla="*/ 611525 h 611524"/>
                <a:gd name="connsiteX1" fmla="*/ 0 w 713499"/>
                <a:gd name="connsiteY1" fmla="*/ 317499 h 611524"/>
                <a:gd name="connsiteX2" fmla="*/ 0 w 713499"/>
                <a:gd name="connsiteY2" fmla="*/ 294025 h 611524"/>
                <a:gd name="connsiteX3" fmla="*/ 345013 w 713499"/>
                <a:gd name="connsiteY3" fmla="*/ 0 h 611524"/>
                <a:gd name="connsiteX4" fmla="*/ 380279 w 713499"/>
                <a:gd name="connsiteY4" fmla="*/ 0 h 611524"/>
                <a:gd name="connsiteX5" fmla="*/ 713499 w 713499"/>
                <a:gd name="connsiteY5" fmla="*/ 231246 h 611524"/>
                <a:gd name="connsiteX6" fmla="*/ 713499 w 713499"/>
                <a:gd name="connsiteY6" fmla="*/ 235177 h 611524"/>
                <a:gd name="connsiteX7" fmla="*/ 540993 w 713499"/>
                <a:gd name="connsiteY7" fmla="*/ 235177 h 611524"/>
                <a:gd name="connsiteX8" fmla="*/ 360626 w 713499"/>
                <a:gd name="connsiteY8" fmla="*/ 133201 h 611524"/>
                <a:gd name="connsiteX9" fmla="*/ 172397 w 713499"/>
                <a:gd name="connsiteY9" fmla="*/ 293916 h 611524"/>
                <a:gd name="connsiteX10" fmla="*/ 172397 w 713499"/>
                <a:gd name="connsiteY10" fmla="*/ 301777 h 611524"/>
                <a:gd name="connsiteX11" fmla="*/ 360626 w 713499"/>
                <a:gd name="connsiteY11" fmla="*/ 466423 h 611524"/>
                <a:gd name="connsiteX12" fmla="*/ 540993 w 713499"/>
                <a:gd name="connsiteY12" fmla="*/ 364447 h 611524"/>
                <a:gd name="connsiteX13" fmla="*/ 713499 w 713499"/>
                <a:gd name="connsiteY13" fmla="*/ 364447 h 611524"/>
                <a:gd name="connsiteX14" fmla="*/ 713499 w 713499"/>
                <a:gd name="connsiteY14" fmla="*/ 368378 h 611524"/>
                <a:gd name="connsiteX15" fmla="*/ 344904 w 713499"/>
                <a:gd name="connsiteY15" fmla="*/ 611416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3499" h="611524">
                  <a:moveTo>
                    <a:pt x="345013" y="611525"/>
                  </a:moveTo>
                  <a:cubicBezTo>
                    <a:pt x="78392" y="611525"/>
                    <a:pt x="0" y="439018"/>
                    <a:pt x="0" y="317499"/>
                  </a:cubicBezTo>
                  <a:lnTo>
                    <a:pt x="0" y="294025"/>
                  </a:lnTo>
                  <a:cubicBezTo>
                    <a:pt x="0" y="168576"/>
                    <a:pt x="74462" y="0"/>
                    <a:pt x="345013" y="0"/>
                  </a:cubicBezTo>
                  <a:lnTo>
                    <a:pt x="380279" y="0"/>
                  </a:lnTo>
                  <a:cubicBezTo>
                    <a:pt x="627247" y="0"/>
                    <a:pt x="713499" y="121519"/>
                    <a:pt x="713499" y="231246"/>
                  </a:cubicBezTo>
                  <a:lnTo>
                    <a:pt x="713499" y="235177"/>
                  </a:lnTo>
                  <a:lnTo>
                    <a:pt x="540993" y="235177"/>
                  </a:lnTo>
                  <a:cubicBezTo>
                    <a:pt x="537063" y="219454"/>
                    <a:pt x="517520" y="133201"/>
                    <a:pt x="360626" y="133201"/>
                  </a:cubicBezTo>
                  <a:cubicBezTo>
                    <a:pt x="215524" y="133201"/>
                    <a:pt x="172397" y="215524"/>
                    <a:pt x="172397" y="293916"/>
                  </a:cubicBezTo>
                  <a:lnTo>
                    <a:pt x="172397" y="301777"/>
                  </a:lnTo>
                  <a:cubicBezTo>
                    <a:pt x="172397" y="376239"/>
                    <a:pt x="219454" y="466423"/>
                    <a:pt x="360626" y="466423"/>
                  </a:cubicBezTo>
                  <a:cubicBezTo>
                    <a:pt x="517410" y="466423"/>
                    <a:pt x="537063" y="380169"/>
                    <a:pt x="540993" y="364447"/>
                  </a:cubicBezTo>
                  <a:lnTo>
                    <a:pt x="713499" y="364447"/>
                  </a:lnTo>
                  <a:lnTo>
                    <a:pt x="713499" y="368378"/>
                  </a:lnTo>
                  <a:cubicBezTo>
                    <a:pt x="713499" y="493827"/>
                    <a:pt x="619385" y="611416"/>
                    <a:pt x="344904" y="611416"/>
                  </a:cubicBez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12" name="!!patch">
            <a:extLst>
              <a:ext uri="{FF2B5EF4-FFF2-40B4-BE49-F238E27FC236}">
                <a16:creationId xmlns:a16="http://schemas.microsoft.com/office/drawing/2014/main" id="{27AECEF2-C776-0934-CAE1-693E5AEE3AF1}"/>
              </a:ext>
            </a:extLst>
          </p:cNvPr>
          <p:cNvGrpSpPr/>
          <p:nvPr/>
        </p:nvGrpSpPr>
        <p:grpSpPr>
          <a:xfrm>
            <a:off x="3410139" y="3123183"/>
            <a:ext cx="3407001" cy="611634"/>
            <a:chOff x="3410139" y="2960374"/>
            <a:chExt cx="3407001" cy="611634"/>
          </a:xfrm>
          <a:solidFill>
            <a:schemeClr val="bg1"/>
          </a:solidFill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7E1A35C9-982C-8B13-A672-398A8B6E2DDF}"/>
                </a:ext>
              </a:extLst>
            </p:cNvPr>
            <p:cNvSpPr/>
            <p:nvPr/>
          </p:nvSpPr>
          <p:spPr>
            <a:xfrm>
              <a:off x="3410139" y="2960374"/>
              <a:ext cx="642968" cy="611524"/>
            </a:xfrm>
            <a:custGeom>
              <a:avLst/>
              <a:gdLst>
                <a:gd name="connsiteX0" fmla="*/ 164645 w 642968"/>
                <a:gd name="connsiteY0" fmla="*/ 415544 h 611524"/>
                <a:gd name="connsiteX1" fmla="*/ 164645 w 642968"/>
                <a:gd name="connsiteY1" fmla="*/ 611525 h 611524"/>
                <a:gd name="connsiteX2" fmla="*/ 0 w 642968"/>
                <a:gd name="connsiteY2" fmla="*/ 611525 h 611524"/>
                <a:gd name="connsiteX3" fmla="*/ 0 w 642968"/>
                <a:gd name="connsiteY3" fmla="*/ 0 h 611524"/>
                <a:gd name="connsiteX4" fmla="*/ 399931 w 642968"/>
                <a:gd name="connsiteY4" fmla="*/ 0 h 611524"/>
                <a:gd name="connsiteX5" fmla="*/ 642969 w 642968"/>
                <a:gd name="connsiteY5" fmla="*/ 203842 h 611524"/>
                <a:gd name="connsiteX6" fmla="*/ 642969 w 642968"/>
                <a:gd name="connsiteY6" fmla="*/ 207772 h 611524"/>
                <a:gd name="connsiteX7" fmla="*/ 399931 w 642968"/>
                <a:gd name="connsiteY7" fmla="*/ 411614 h 611524"/>
                <a:gd name="connsiteX8" fmla="*/ 164645 w 642968"/>
                <a:gd name="connsiteY8" fmla="*/ 415544 h 611524"/>
                <a:gd name="connsiteX9" fmla="*/ 164645 w 642968"/>
                <a:gd name="connsiteY9" fmla="*/ 278412 h 611524"/>
                <a:gd name="connsiteX10" fmla="*/ 392070 w 642968"/>
                <a:gd name="connsiteY10" fmla="*/ 278412 h 611524"/>
                <a:gd name="connsiteX11" fmla="*/ 478323 w 642968"/>
                <a:gd name="connsiteY11" fmla="*/ 211812 h 611524"/>
                <a:gd name="connsiteX12" fmla="*/ 478323 w 642968"/>
                <a:gd name="connsiteY12" fmla="*/ 207881 h 611524"/>
                <a:gd name="connsiteX13" fmla="*/ 392070 w 642968"/>
                <a:gd name="connsiteY13" fmla="*/ 141281 h 611524"/>
                <a:gd name="connsiteX14" fmla="*/ 164645 w 642968"/>
                <a:gd name="connsiteY14" fmla="*/ 141281 h 611524"/>
                <a:gd name="connsiteX15" fmla="*/ 164645 w 642968"/>
                <a:gd name="connsiteY15" fmla="*/ 278522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2968" h="611524">
                  <a:moveTo>
                    <a:pt x="164645" y="415544"/>
                  </a:moveTo>
                  <a:lnTo>
                    <a:pt x="164645" y="611525"/>
                  </a:lnTo>
                  <a:lnTo>
                    <a:pt x="0" y="611525"/>
                  </a:lnTo>
                  <a:lnTo>
                    <a:pt x="0" y="0"/>
                  </a:lnTo>
                  <a:lnTo>
                    <a:pt x="399931" y="0"/>
                  </a:lnTo>
                  <a:cubicBezTo>
                    <a:pt x="588160" y="0"/>
                    <a:pt x="642969" y="82323"/>
                    <a:pt x="642969" y="203842"/>
                  </a:cubicBezTo>
                  <a:lnTo>
                    <a:pt x="642969" y="207772"/>
                  </a:lnTo>
                  <a:cubicBezTo>
                    <a:pt x="642969" y="325360"/>
                    <a:pt x="584120" y="411614"/>
                    <a:pt x="399931" y="411614"/>
                  </a:cubicBezTo>
                  <a:lnTo>
                    <a:pt x="164645" y="415544"/>
                  </a:lnTo>
                  <a:close/>
                  <a:moveTo>
                    <a:pt x="164645" y="278412"/>
                  </a:moveTo>
                  <a:lnTo>
                    <a:pt x="392070" y="278412"/>
                  </a:lnTo>
                  <a:cubicBezTo>
                    <a:pt x="450919" y="278412"/>
                    <a:pt x="478323" y="254938"/>
                    <a:pt x="478323" y="211812"/>
                  </a:cubicBezTo>
                  <a:lnTo>
                    <a:pt x="478323" y="207881"/>
                  </a:lnTo>
                  <a:cubicBezTo>
                    <a:pt x="478323" y="164755"/>
                    <a:pt x="450919" y="141281"/>
                    <a:pt x="392070" y="141281"/>
                  </a:cubicBezTo>
                  <a:lnTo>
                    <a:pt x="164645" y="141281"/>
                  </a:lnTo>
                  <a:lnTo>
                    <a:pt x="164645" y="27852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71EB71A4-C799-1005-4C16-B438BFBEFD36}"/>
                </a:ext>
              </a:extLst>
            </p:cNvPr>
            <p:cNvSpPr/>
            <p:nvPr/>
          </p:nvSpPr>
          <p:spPr>
            <a:xfrm>
              <a:off x="4029525" y="2960374"/>
              <a:ext cx="752804" cy="611524"/>
            </a:xfrm>
            <a:custGeom>
              <a:avLst/>
              <a:gdLst>
                <a:gd name="connsiteX0" fmla="*/ 529311 w 752804"/>
                <a:gd name="connsiteY0" fmla="*/ 497867 h 611524"/>
                <a:gd name="connsiteX1" fmla="*/ 211703 w 752804"/>
                <a:gd name="connsiteY1" fmla="*/ 497867 h 611524"/>
                <a:gd name="connsiteX2" fmla="*/ 164645 w 752804"/>
                <a:gd name="connsiteY2" fmla="*/ 611525 h 611524"/>
                <a:gd name="connsiteX3" fmla="*/ 0 w 752804"/>
                <a:gd name="connsiteY3" fmla="*/ 611525 h 611524"/>
                <a:gd name="connsiteX4" fmla="*/ 262690 w 752804"/>
                <a:gd name="connsiteY4" fmla="*/ 0 h 611524"/>
                <a:gd name="connsiteX5" fmla="*/ 478323 w 752804"/>
                <a:gd name="connsiteY5" fmla="*/ 0 h 611524"/>
                <a:gd name="connsiteX6" fmla="*/ 752805 w 752804"/>
                <a:gd name="connsiteY6" fmla="*/ 611525 h 611524"/>
                <a:gd name="connsiteX7" fmla="*/ 576368 w 752804"/>
                <a:gd name="connsiteY7" fmla="*/ 611525 h 611524"/>
                <a:gd name="connsiteX8" fmla="*/ 529311 w 752804"/>
                <a:gd name="connsiteY8" fmla="*/ 497867 h 611524"/>
                <a:gd name="connsiteX9" fmla="*/ 364666 w 752804"/>
                <a:gd name="connsiteY9" fmla="*/ 121519 h 611524"/>
                <a:gd name="connsiteX10" fmla="*/ 262690 w 752804"/>
                <a:gd name="connsiteY10" fmla="*/ 368487 h 611524"/>
                <a:gd name="connsiteX11" fmla="*/ 474393 w 752804"/>
                <a:gd name="connsiteY11" fmla="*/ 368487 h 611524"/>
                <a:gd name="connsiteX12" fmla="*/ 364556 w 752804"/>
                <a:gd name="connsiteY12" fmla="*/ 121519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2804" h="611524">
                  <a:moveTo>
                    <a:pt x="529311" y="497867"/>
                  </a:moveTo>
                  <a:lnTo>
                    <a:pt x="211703" y="497867"/>
                  </a:lnTo>
                  <a:lnTo>
                    <a:pt x="164645" y="611525"/>
                  </a:lnTo>
                  <a:lnTo>
                    <a:pt x="0" y="611525"/>
                  </a:lnTo>
                  <a:lnTo>
                    <a:pt x="262690" y="0"/>
                  </a:lnTo>
                  <a:lnTo>
                    <a:pt x="478323" y="0"/>
                  </a:lnTo>
                  <a:lnTo>
                    <a:pt x="752805" y="611525"/>
                  </a:lnTo>
                  <a:lnTo>
                    <a:pt x="576368" y="611525"/>
                  </a:lnTo>
                  <a:lnTo>
                    <a:pt x="529311" y="497867"/>
                  </a:lnTo>
                  <a:close/>
                  <a:moveTo>
                    <a:pt x="364666" y="121519"/>
                  </a:moveTo>
                  <a:lnTo>
                    <a:pt x="262690" y="368487"/>
                  </a:lnTo>
                  <a:lnTo>
                    <a:pt x="474393" y="368487"/>
                  </a:lnTo>
                  <a:lnTo>
                    <a:pt x="364556" y="12151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98BAC624-B7B6-C9EC-E6DD-8895CF501132}"/>
                </a:ext>
              </a:extLst>
            </p:cNvPr>
            <p:cNvSpPr/>
            <p:nvPr/>
          </p:nvSpPr>
          <p:spPr>
            <a:xfrm>
              <a:off x="4684285" y="2960374"/>
              <a:ext cx="615563" cy="611633"/>
            </a:xfrm>
            <a:custGeom>
              <a:avLst/>
              <a:gdLst>
                <a:gd name="connsiteX0" fmla="*/ 231355 w 615563"/>
                <a:gd name="connsiteY0" fmla="*/ 141171 h 611633"/>
                <a:gd name="connsiteX1" fmla="*/ 0 w 615563"/>
                <a:gd name="connsiteY1" fmla="*/ 141171 h 611633"/>
                <a:gd name="connsiteX2" fmla="*/ 0 w 615563"/>
                <a:gd name="connsiteY2" fmla="*/ 0 h 611633"/>
                <a:gd name="connsiteX3" fmla="*/ 615564 w 615563"/>
                <a:gd name="connsiteY3" fmla="*/ 0 h 611633"/>
                <a:gd name="connsiteX4" fmla="*/ 615564 w 615563"/>
                <a:gd name="connsiteY4" fmla="*/ 141171 h 611633"/>
                <a:gd name="connsiteX5" fmla="*/ 392070 w 615563"/>
                <a:gd name="connsiteY5" fmla="*/ 141171 h 611633"/>
                <a:gd name="connsiteX6" fmla="*/ 392070 w 615563"/>
                <a:gd name="connsiteY6" fmla="*/ 611634 h 611633"/>
                <a:gd name="connsiteX7" fmla="*/ 227424 w 615563"/>
                <a:gd name="connsiteY7" fmla="*/ 611634 h 611633"/>
                <a:gd name="connsiteX8" fmla="*/ 231355 w 615563"/>
                <a:gd name="connsiteY8" fmla="*/ 141171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5563" h="611633">
                  <a:moveTo>
                    <a:pt x="231355" y="141171"/>
                  </a:moveTo>
                  <a:lnTo>
                    <a:pt x="0" y="141171"/>
                  </a:lnTo>
                  <a:lnTo>
                    <a:pt x="0" y="0"/>
                  </a:lnTo>
                  <a:lnTo>
                    <a:pt x="615564" y="0"/>
                  </a:lnTo>
                  <a:lnTo>
                    <a:pt x="615564" y="141171"/>
                  </a:lnTo>
                  <a:lnTo>
                    <a:pt x="392070" y="141171"/>
                  </a:lnTo>
                  <a:lnTo>
                    <a:pt x="392070" y="611634"/>
                  </a:lnTo>
                  <a:lnTo>
                    <a:pt x="227424" y="611634"/>
                  </a:lnTo>
                  <a:cubicBezTo>
                    <a:pt x="231355" y="611634"/>
                    <a:pt x="231355" y="141171"/>
                    <a:pt x="231355" y="14117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36CA7B99-E776-D62B-DF80-5DE919C63A7D}"/>
                </a:ext>
              </a:extLst>
            </p:cNvPr>
            <p:cNvSpPr/>
            <p:nvPr/>
          </p:nvSpPr>
          <p:spPr>
            <a:xfrm>
              <a:off x="6154629" y="2960374"/>
              <a:ext cx="662511" cy="611524"/>
            </a:xfrm>
            <a:custGeom>
              <a:avLst/>
              <a:gdLst>
                <a:gd name="connsiteX0" fmla="*/ 0 w 662511"/>
                <a:gd name="connsiteY0" fmla="*/ 0 h 611524"/>
                <a:gd name="connsiteX1" fmla="*/ 164646 w 662511"/>
                <a:gd name="connsiteY1" fmla="*/ 0 h 611524"/>
                <a:gd name="connsiteX2" fmla="*/ 164646 w 662511"/>
                <a:gd name="connsiteY2" fmla="*/ 227316 h 611524"/>
                <a:gd name="connsiteX3" fmla="*/ 497867 w 662511"/>
                <a:gd name="connsiteY3" fmla="*/ 227316 h 611524"/>
                <a:gd name="connsiteX4" fmla="*/ 497867 w 662511"/>
                <a:gd name="connsiteY4" fmla="*/ 0 h 611524"/>
                <a:gd name="connsiteX5" fmla="*/ 662512 w 662511"/>
                <a:gd name="connsiteY5" fmla="*/ 0 h 611524"/>
                <a:gd name="connsiteX6" fmla="*/ 662512 w 662511"/>
                <a:gd name="connsiteY6" fmla="*/ 611525 h 611524"/>
                <a:gd name="connsiteX7" fmla="*/ 497867 w 662511"/>
                <a:gd name="connsiteY7" fmla="*/ 611525 h 611524"/>
                <a:gd name="connsiteX8" fmla="*/ 497867 w 662511"/>
                <a:gd name="connsiteY8" fmla="*/ 364556 h 611524"/>
                <a:gd name="connsiteX9" fmla="*/ 168576 w 662511"/>
                <a:gd name="connsiteY9" fmla="*/ 364556 h 611524"/>
                <a:gd name="connsiteX10" fmla="*/ 168576 w 662511"/>
                <a:gd name="connsiteY10" fmla="*/ 611525 h 611524"/>
                <a:gd name="connsiteX11" fmla="*/ 3931 w 662511"/>
                <a:gd name="connsiteY11" fmla="*/ 611525 h 611524"/>
                <a:gd name="connsiteX12" fmla="*/ 0 w 662511"/>
                <a:gd name="connsiteY12" fmla="*/ 0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511" h="611524">
                  <a:moveTo>
                    <a:pt x="0" y="0"/>
                  </a:moveTo>
                  <a:lnTo>
                    <a:pt x="164646" y="0"/>
                  </a:lnTo>
                  <a:lnTo>
                    <a:pt x="164646" y="227316"/>
                  </a:lnTo>
                  <a:lnTo>
                    <a:pt x="497867" y="227316"/>
                  </a:lnTo>
                  <a:lnTo>
                    <a:pt x="497867" y="0"/>
                  </a:lnTo>
                  <a:lnTo>
                    <a:pt x="662512" y="0"/>
                  </a:lnTo>
                  <a:lnTo>
                    <a:pt x="662512" y="611525"/>
                  </a:lnTo>
                  <a:lnTo>
                    <a:pt x="497867" y="611525"/>
                  </a:lnTo>
                  <a:lnTo>
                    <a:pt x="497867" y="364556"/>
                  </a:lnTo>
                  <a:lnTo>
                    <a:pt x="168576" y="364556"/>
                  </a:lnTo>
                  <a:lnTo>
                    <a:pt x="168576" y="611525"/>
                  </a:lnTo>
                  <a:lnTo>
                    <a:pt x="3931" y="61152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B30341CD-902A-DF1C-6382-A1D71EA38037}"/>
                </a:ext>
              </a:extLst>
            </p:cNvPr>
            <p:cNvSpPr/>
            <p:nvPr/>
          </p:nvSpPr>
          <p:spPr>
            <a:xfrm>
              <a:off x="5343085" y="2960484"/>
              <a:ext cx="713499" cy="611524"/>
            </a:xfrm>
            <a:custGeom>
              <a:avLst/>
              <a:gdLst>
                <a:gd name="connsiteX0" fmla="*/ 345013 w 713499"/>
                <a:gd name="connsiteY0" fmla="*/ 611525 h 611524"/>
                <a:gd name="connsiteX1" fmla="*/ 0 w 713499"/>
                <a:gd name="connsiteY1" fmla="*/ 317499 h 611524"/>
                <a:gd name="connsiteX2" fmla="*/ 0 w 713499"/>
                <a:gd name="connsiteY2" fmla="*/ 294025 h 611524"/>
                <a:gd name="connsiteX3" fmla="*/ 345013 w 713499"/>
                <a:gd name="connsiteY3" fmla="*/ 0 h 611524"/>
                <a:gd name="connsiteX4" fmla="*/ 380278 w 713499"/>
                <a:gd name="connsiteY4" fmla="*/ 0 h 611524"/>
                <a:gd name="connsiteX5" fmla="*/ 713500 w 713499"/>
                <a:gd name="connsiteY5" fmla="*/ 231246 h 611524"/>
                <a:gd name="connsiteX6" fmla="*/ 713500 w 713499"/>
                <a:gd name="connsiteY6" fmla="*/ 235177 h 611524"/>
                <a:gd name="connsiteX7" fmla="*/ 540993 w 713499"/>
                <a:gd name="connsiteY7" fmla="*/ 235177 h 611524"/>
                <a:gd name="connsiteX8" fmla="*/ 360626 w 713499"/>
                <a:gd name="connsiteY8" fmla="*/ 133201 h 611524"/>
                <a:gd name="connsiteX9" fmla="*/ 172397 w 713499"/>
                <a:gd name="connsiteY9" fmla="*/ 293916 h 611524"/>
                <a:gd name="connsiteX10" fmla="*/ 172397 w 713499"/>
                <a:gd name="connsiteY10" fmla="*/ 301777 h 611524"/>
                <a:gd name="connsiteX11" fmla="*/ 360626 w 713499"/>
                <a:gd name="connsiteY11" fmla="*/ 466423 h 611524"/>
                <a:gd name="connsiteX12" fmla="*/ 540993 w 713499"/>
                <a:gd name="connsiteY12" fmla="*/ 364447 h 611524"/>
                <a:gd name="connsiteX13" fmla="*/ 713500 w 713499"/>
                <a:gd name="connsiteY13" fmla="*/ 364447 h 611524"/>
                <a:gd name="connsiteX14" fmla="*/ 713500 w 713499"/>
                <a:gd name="connsiteY14" fmla="*/ 368378 h 611524"/>
                <a:gd name="connsiteX15" fmla="*/ 344904 w 713499"/>
                <a:gd name="connsiteY15" fmla="*/ 611416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3499" h="611524">
                  <a:moveTo>
                    <a:pt x="345013" y="611525"/>
                  </a:moveTo>
                  <a:cubicBezTo>
                    <a:pt x="78392" y="611525"/>
                    <a:pt x="0" y="439018"/>
                    <a:pt x="0" y="317499"/>
                  </a:cubicBezTo>
                  <a:lnTo>
                    <a:pt x="0" y="294025"/>
                  </a:lnTo>
                  <a:cubicBezTo>
                    <a:pt x="0" y="168576"/>
                    <a:pt x="74461" y="0"/>
                    <a:pt x="345013" y="0"/>
                  </a:cubicBezTo>
                  <a:lnTo>
                    <a:pt x="380278" y="0"/>
                  </a:lnTo>
                  <a:cubicBezTo>
                    <a:pt x="627246" y="0"/>
                    <a:pt x="713500" y="121519"/>
                    <a:pt x="713500" y="231246"/>
                  </a:cubicBezTo>
                  <a:lnTo>
                    <a:pt x="713500" y="235177"/>
                  </a:lnTo>
                  <a:lnTo>
                    <a:pt x="540993" y="235177"/>
                  </a:lnTo>
                  <a:cubicBezTo>
                    <a:pt x="537063" y="219454"/>
                    <a:pt x="517519" y="133201"/>
                    <a:pt x="360626" y="133201"/>
                  </a:cubicBezTo>
                  <a:cubicBezTo>
                    <a:pt x="215524" y="133201"/>
                    <a:pt x="172397" y="215524"/>
                    <a:pt x="172397" y="293916"/>
                  </a:cubicBezTo>
                  <a:lnTo>
                    <a:pt x="172397" y="301777"/>
                  </a:lnTo>
                  <a:cubicBezTo>
                    <a:pt x="172397" y="376239"/>
                    <a:pt x="219454" y="466423"/>
                    <a:pt x="360626" y="466423"/>
                  </a:cubicBezTo>
                  <a:cubicBezTo>
                    <a:pt x="517410" y="466423"/>
                    <a:pt x="537063" y="380169"/>
                    <a:pt x="540993" y="364447"/>
                  </a:cubicBezTo>
                  <a:lnTo>
                    <a:pt x="713500" y="364447"/>
                  </a:lnTo>
                  <a:lnTo>
                    <a:pt x="713500" y="368378"/>
                  </a:lnTo>
                  <a:cubicBezTo>
                    <a:pt x="713500" y="493827"/>
                    <a:pt x="619385" y="611416"/>
                    <a:pt x="344904" y="61141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18" name="!!logo">
            <a:extLst>
              <a:ext uri="{FF2B5EF4-FFF2-40B4-BE49-F238E27FC236}">
                <a16:creationId xmlns:a16="http://schemas.microsoft.com/office/drawing/2014/main" id="{9A42C500-1AD3-B68A-6363-5F649286A6FB}"/>
              </a:ext>
            </a:extLst>
          </p:cNvPr>
          <p:cNvGrpSpPr/>
          <p:nvPr/>
        </p:nvGrpSpPr>
        <p:grpSpPr>
          <a:xfrm>
            <a:off x="1712371" y="2731223"/>
            <a:ext cx="1403743" cy="1395554"/>
            <a:chOff x="1712371" y="2568414"/>
            <a:chExt cx="1403743" cy="1395554"/>
          </a:xfr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03A08B7E-E1CE-026F-0F05-5EBD2F3DC485}"/>
                </a:ext>
              </a:extLst>
            </p:cNvPr>
            <p:cNvSpPr/>
            <p:nvPr/>
          </p:nvSpPr>
          <p:spPr>
            <a:xfrm>
              <a:off x="2139815" y="2983124"/>
              <a:ext cx="561185" cy="579691"/>
            </a:xfrm>
            <a:custGeom>
              <a:avLst/>
              <a:gdLst>
                <a:gd name="connsiteX0" fmla="*/ 560646 w 561185"/>
                <a:gd name="connsiteY0" fmla="*/ 443783 h 579691"/>
                <a:gd name="connsiteX1" fmla="*/ 560646 w 561185"/>
                <a:gd name="connsiteY1" fmla="*/ 98770 h 579691"/>
                <a:gd name="connsiteX2" fmla="*/ 552785 w 561185"/>
                <a:gd name="connsiteY2" fmla="*/ 86978 h 579691"/>
                <a:gd name="connsiteX3" fmla="*/ 540993 w 561185"/>
                <a:gd name="connsiteY3" fmla="*/ 83048 h 579691"/>
                <a:gd name="connsiteX4" fmla="*/ 533132 w 561185"/>
                <a:gd name="connsiteY4" fmla="*/ 86978 h 579691"/>
                <a:gd name="connsiteX5" fmla="*/ 521341 w 561185"/>
                <a:gd name="connsiteY5" fmla="*/ 98770 h 579691"/>
                <a:gd name="connsiteX6" fmla="*/ 525271 w 561185"/>
                <a:gd name="connsiteY6" fmla="*/ 110561 h 579691"/>
                <a:gd name="connsiteX7" fmla="*/ 533132 w 561185"/>
                <a:gd name="connsiteY7" fmla="*/ 118422 h 579691"/>
                <a:gd name="connsiteX8" fmla="*/ 533132 w 561185"/>
                <a:gd name="connsiteY8" fmla="*/ 396726 h 579691"/>
                <a:gd name="connsiteX9" fmla="*/ 525271 w 561185"/>
                <a:gd name="connsiteY9" fmla="*/ 404587 h 579691"/>
                <a:gd name="connsiteX10" fmla="*/ 74352 w 561185"/>
                <a:gd name="connsiteY10" fmla="*/ 431991 h 579691"/>
                <a:gd name="connsiteX11" fmla="*/ 66491 w 561185"/>
                <a:gd name="connsiteY11" fmla="*/ 424130 h 579691"/>
                <a:gd name="connsiteX12" fmla="*/ 66491 w 561185"/>
                <a:gd name="connsiteY12" fmla="*/ 51713 h 579691"/>
                <a:gd name="connsiteX13" fmla="*/ 74352 w 561185"/>
                <a:gd name="connsiteY13" fmla="*/ 43852 h 579691"/>
                <a:gd name="connsiteX14" fmla="*/ 348834 w 561185"/>
                <a:gd name="connsiteY14" fmla="*/ 86978 h 579691"/>
                <a:gd name="connsiteX15" fmla="*/ 356695 w 561185"/>
                <a:gd name="connsiteY15" fmla="*/ 83048 h 579691"/>
                <a:gd name="connsiteX16" fmla="*/ 368487 w 561185"/>
                <a:gd name="connsiteY16" fmla="*/ 67326 h 579691"/>
                <a:gd name="connsiteX17" fmla="*/ 364556 w 561185"/>
                <a:gd name="connsiteY17" fmla="*/ 55534 h 579691"/>
                <a:gd name="connsiteX18" fmla="*/ 31335 w 561185"/>
                <a:gd name="connsiteY18" fmla="*/ 616 h 579691"/>
                <a:gd name="connsiteX19" fmla="*/ 0 w 561185"/>
                <a:gd name="connsiteY19" fmla="*/ 24090 h 579691"/>
                <a:gd name="connsiteX20" fmla="*/ 0 w 561185"/>
                <a:gd name="connsiteY20" fmla="*/ 498373 h 579691"/>
                <a:gd name="connsiteX21" fmla="*/ 19653 w 561185"/>
                <a:gd name="connsiteY21" fmla="*/ 514096 h 579691"/>
                <a:gd name="connsiteX22" fmla="*/ 254938 w 561185"/>
                <a:gd name="connsiteY22" fmla="*/ 494443 h 579691"/>
                <a:gd name="connsiteX23" fmla="*/ 262799 w 561185"/>
                <a:gd name="connsiteY23" fmla="*/ 502304 h 579691"/>
                <a:gd name="connsiteX24" fmla="*/ 258869 w 561185"/>
                <a:gd name="connsiteY24" fmla="*/ 529708 h 579691"/>
                <a:gd name="connsiteX25" fmla="*/ 251008 w 561185"/>
                <a:gd name="connsiteY25" fmla="*/ 537570 h 579691"/>
                <a:gd name="connsiteX26" fmla="*/ 188229 w 561185"/>
                <a:gd name="connsiteY26" fmla="*/ 564974 h 579691"/>
                <a:gd name="connsiteX27" fmla="*/ 333330 w 561185"/>
                <a:gd name="connsiteY27" fmla="*/ 572835 h 579691"/>
                <a:gd name="connsiteX28" fmla="*/ 439236 w 561185"/>
                <a:gd name="connsiteY28" fmla="*/ 541500 h 579691"/>
                <a:gd name="connsiteX29" fmla="*/ 372636 w 561185"/>
                <a:gd name="connsiteY29" fmla="*/ 525778 h 579691"/>
                <a:gd name="connsiteX30" fmla="*/ 364775 w 561185"/>
                <a:gd name="connsiteY30" fmla="*/ 517917 h 579691"/>
                <a:gd name="connsiteX31" fmla="*/ 364775 w 561185"/>
                <a:gd name="connsiteY31" fmla="*/ 494443 h 579691"/>
                <a:gd name="connsiteX32" fmla="*/ 372636 w 561185"/>
                <a:gd name="connsiteY32" fmla="*/ 486582 h 579691"/>
                <a:gd name="connsiteX33" fmla="*/ 545142 w 561185"/>
                <a:gd name="connsiteY33" fmla="*/ 470860 h 579691"/>
                <a:gd name="connsiteX34" fmla="*/ 560864 w 561185"/>
                <a:gd name="connsiteY34" fmla="*/ 443455 h 5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61185" h="579691">
                  <a:moveTo>
                    <a:pt x="560646" y="443783"/>
                  </a:moveTo>
                  <a:lnTo>
                    <a:pt x="560646" y="98770"/>
                  </a:lnTo>
                  <a:cubicBezTo>
                    <a:pt x="560646" y="90909"/>
                    <a:pt x="556715" y="86978"/>
                    <a:pt x="552785" y="86978"/>
                  </a:cubicBezTo>
                  <a:lnTo>
                    <a:pt x="540993" y="83048"/>
                  </a:lnTo>
                  <a:cubicBezTo>
                    <a:pt x="538373" y="83048"/>
                    <a:pt x="535753" y="84358"/>
                    <a:pt x="533132" y="86978"/>
                  </a:cubicBezTo>
                  <a:cubicBezTo>
                    <a:pt x="529202" y="90909"/>
                    <a:pt x="525271" y="94839"/>
                    <a:pt x="521341" y="98770"/>
                  </a:cubicBezTo>
                  <a:cubicBezTo>
                    <a:pt x="517410" y="102700"/>
                    <a:pt x="521341" y="110561"/>
                    <a:pt x="525271" y="110561"/>
                  </a:cubicBezTo>
                  <a:cubicBezTo>
                    <a:pt x="529202" y="110561"/>
                    <a:pt x="533132" y="114492"/>
                    <a:pt x="533132" y="118422"/>
                  </a:cubicBezTo>
                  <a:lnTo>
                    <a:pt x="533132" y="396726"/>
                  </a:lnTo>
                  <a:cubicBezTo>
                    <a:pt x="533132" y="400656"/>
                    <a:pt x="529202" y="404587"/>
                    <a:pt x="525271" y="404587"/>
                  </a:cubicBezTo>
                  <a:lnTo>
                    <a:pt x="74352" y="431991"/>
                  </a:lnTo>
                  <a:cubicBezTo>
                    <a:pt x="70422" y="431991"/>
                    <a:pt x="66491" y="428061"/>
                    <a:pt x="66491" y="424130"/>
                  </a:cubicBezTo>
                  <a:lnTo>
                    <a:pt x="66491" y="51713"/>
                  </a:lnTo>
                  <a:cubicBezTo>
                    <a:pt x="66491" y="47782"/>
                    <a:pt x="70422" y="43852"/>
                    <a:pt x="74352" y="43852"/>
                  </a:cubicBezTo>
                  <a:lnTo>
                    <a:pt x="348834" y="86978"/>
                  </a:lnTo>
                  <a:cubicBezTo>
                    <a:pt x="352765" y="86978"/>
                    <a:pt x="356695" y="86978"/>
                    <a:pt x="356695" y="83048"/>
                  </a:cubicBezTo>
                  <a:cubicBezTo>
                    <a:pt x="360626" y="79117"/>
                    <a:pt x="364556" y="71256"/>
                    <a:pt x="368487" y="67326"/>
                  </a:cubicBezTo>
                  <a:cubicBezTo>
                    <a:pt x="372417" y="63395"/>
                    <a:pt x="368487" y="55534"/>
                    <a:pt x="364556" y="55534"/>
                  </a:cubicBezTo>
                  <a:lnTo>
                    <a:pt x="31335" y="616"/>
                  </a:lnTo>
                  <a:cubicBezTo>
                    <a:pt x="15613" y="-3315"/>
                    <a:pt x="0" y="12407"/>
                    <a:pt x="0" y="24090"/>
                  </a:cubicBezTo>
                  <a:lnTo>
                    <a:pt x="0" y="498373"/>
                  </a:lnTo>
                  <a:cubicBezTo>
                    <a:pt x="0" y="506234"/>
                    <a:pt x="7861" y="514096"/>
                    <a:pt x="19653" y="514096"/>
                  </a:cubicBezTo>
                  <a:cubicBezTo>
                    <a:pt x="19653" y="514096"/>
                    <a:pt x="129489" y="502304"/>
                    <a:pt x="254938" y="494443"/>
                  </a:cubicBezTo>
                  <a:cubicBezTo>
                    <a:pt x="258869" y="494443"/>
                    <a:pt x="262799" y="498373"/>
                    <a:pt x="262799" y="502304"/>
                  </a:cubicBezTo>
                  <a:lnTo>
                    <a:pt x="258869" y="529708"/>
                  </a:lnTo>
                  <a:cubicBezTo>
                    <a:pt x="258869" y="533639"/>
                    <a:pt x="254938" y="537570"/>
                    <a:pt x="251008" y="537570"/>
                  </a:cubicBezTo>
                  <a:cubicBezTo>
                    <a:pt x="215742" y="545431"/>
                    <a:pt x="188229" y="553292"/>
                    <a:pt x="188229" y="564974"/>
                  </a:cubicBezTo>
                  <a:cubicBezTo>
                    <a:pt x="188229" y="580696"/>
                    <a:pt x="258760" y="584627"/>
                    <a:pt x="333330" y="572835"/>
                  </a:cubicBezTo>
                  <a:cubicBezTo>
                    <a:pt x="396110" y="564974"/>
                    <a:pt x="439236" y="549361"/>
                    <a:pt x="439236" y="541500"/>
                  </a:cubicBezTo>
                  <a:cubicBezTo>
                    <a:pt x="439236" y="533639"/>
                    <a:pt x="411832" y="525778"/>
                    <a:pt x="372636" y="525778"/>
                  </a:cubicBezTo>
                  <a:cubicBezTo>
                    <a:pt x="368705" y="525778"/>
                    <a:pt x="364775" y="521847"/>
                    <a:pt x="364775" y="517917"/>
                  </a:cubicBezTo>
                  <a:lnTo>
                    <a:pt x="364775" y="494443"/>
                  </a:lnTo>
                  <a:cubicBezTo>
                    <a:pt x="364775" y="490512"/>
                    <a:pt x="368705" y="486582"/>
                    <a:pt x="372636" y="486582"/>
                  </a:cubicBezTo>
                  <a:cubicBezTo>
                    <a:pt x="462819" y="478721"/>
                    <a:pt x="541212" y="470860"/>
                    <a:pt x="545142" y="470860"/>
                  </a:cubicBezTo>
                  <a:cubicBezTo>
                    <a:pt x="564795" y="462999"/>
                    <a:pt x="560864" y="443455"/>
                    <a:pt x="560864" y="443455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C5D3E1AE-8FEA-F00A-EAB3-95405E654402}"/>
                </a:ext>
              </a:extLst>
            </p:cNvPr>
            <p:cNvSpPr/>
            <p:nvPr/>
          </p:nvSpPr>
          <p:spPr>
            <a:xfrm>
              <a:off x="2282952" y="2922052"/>
              <a:ext cx="432139" cy="428100"/>
            </a:xfrm>
            <a:custGeom>
              <a:avLst/>
              <a:gdLst>
                <a:gd name="connsiteX0" fmla="*/ 354730 w 432139"/>
                <a:gd name="connsiteY0" fmla="*/ 3057 h 428100"/>
                <a:gd name="connsiteX1" fmla="*/ 158640 w 432139"/>
                <a:gd name="connsiteY1" fmla="*/ 289221 h 428100"/>
                <a:gd name="connsiteX2" fmla="*/ 150779 w 432139"/>
                <a:gd name="connsiteY2" fmla="*/ 289221 h 428100"/>
                <a:gd name="connsiteX3" fmla="*/ 64526 w 432139"/>
                <a:gd name="connsiteY3" fmla="*/ 199038 h 428100"/>
                <a:gd name="connsiteX4" fmla="*/ 56665 w 432139"/>
                <a:gd name="connsiteY4" fmla="*/ 199038 h 428100"/>
                <a:gd name="connsiteX5" fmla="*/ 1747 w 432139"/>
                <a:gd name="connsiteY5" fmla="*/ 265638 h 428100"/>
                <a:gd name="connsiteX6" fmla="*/ 1747 w 432139"/>
                <a:gd name="connsiteY6" fmla="*/ 273499 h 428100"/>
                <a:gd name="connsiteX7" fmla="*/ 182114 w 432139"/>
                <a:gd name="connsiteY7" fmla="*/ 426353 h 428100"/>
                <a:gd name="connsiteX8" fmla="*/ 189975 w 432139"/>
                <a:gd name="connsiteY8" fmla="*/ 426353 h 428100"/>
                <a:gd name="connsiteX9" fmla="*/ 429192 w 432139"/>
                <a:gd name="connsiteY9" fmla="*/ 81340 h 428100"/>
                <a:gd name="connsiteX10" fmla="*/ 429192 w 432139"/>
                <a:gd name="connsiteY10" fmla="*/ 73479 h 428100"/>
                <a:gd name="connsiteX11" fmla="*/ 366412 w 432139"/>
                <a:gd name="connsiteY11" fmla="*/ 2948 h 428100"/>
                <a:gd name="connsiteX12" fmla="*/ 354621 w 432139"/>
                <a:gd name="connsiteY12" fmla="*/ 2948 h 42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139" h="428100">
                  <a:moveTo>
                    <a:pt x="354730" y="3057"/>
                  </a:moveTo>
                  <a:cubicBezTo>
                    <a:pt x="260616" y="85380"/>
                    <a:pt x="197946" y="206899"/>
                    <a:pt x="158640" y="289221"/>
                  </a:cubicBezTo>
                  <a:cubicBezTo>
                    <a:pt x="158640" y="293152"/>
                    <a:pt x="150779" y="293152"/>
                    <a:pt x="150779" y="289221"/>
                  </a:cubicBezTo>
                  <a:cubicBezTo>
                    <a:pt x="135057" y="269569"/>
                    <a:pt x="80248" y="214760"/>
                    <a:pt x="64526" y="199038"/>
                  </a:cubicBezTo>
                  <a:cubicBezTo>
                    <a:pt x="60596" y="195107"/>
                    <a:pt x="56665" y="195107"/>
                    <a:pt x="56665" y="199038"/>
                  </a:cubicBezTo>
                  <a:cubicBezTo>
                    <a:pt x="44874" y="214760"/>
                    <a:pt x="17469" y="250025"/>
                    <a:pt x="1747" y="265638"/>
                  </a:cubicBezTo>
                  <a:cubicBezTo>
                    <a:pt x="-2184" y="269569"/>
                    <a:pt x="1747" y="273499"/>
                    <a:pt x="1747" y="273499"/>
                  </a:cubicBezTo>
                  <a:cubicBezTo>
                    <a:pt x="40943" y="304834"/>
                    <a:pt x="142918" y="391088"/>
                    <a:pt x="182114" y="426353"/>
                  </a:cubicBezTo>
                  <a:cubicBezTo>
                    <a:pt x="186045" y="430284"/>
                    <a:pt x="189975" y="426353"/>
                    <a:pt x="189975" y="426353"/>
                  </a:cubicBezTo>
                  <a:cubicBezTo>
                    <a:pt x="264437" y="249916"/>
                    <a:pt x="339008" y="151980"/>
                    <a:pt x="429192" y="81340"/>
                  </a:cubicBezTo>
                  <a:cubicBezTo>
                    <a:pt x="433122" y="81340"/>
                    <a:pt x="433122" y="77410"/>
                    <a:pt x="429192" y="73479"/>
                  </a:cubicBezTo>
                  <a:lnTo>
                    <a:pt x="366412" y="2948"/>
                  </a:lnTo>
                  <a:cubicBezTo>
                    <a:pt x="358551" y="-983"/>
                    <a:pt x="354621" y="-983"/>
                    <a:pt x="354621" y="2948"/>
                  </a:cubicBezTo>
                  <a:close/>
                </a:path>
              </a:pathLst>
            </a:custGeom>
            <a:solidFill>
              <a:srgbClr val="6FB74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DF0B1800-CF43-9FC7-1C1B-795E248EBBF7}"/>
                </a:ext>
              </a:extLst>
            </p:cNvPr>
            <p:cNvSpPr/>
            <p:nvPr/>
          </p:nvSpPr>
          <p:spPr>
            <a:xfrm>
              <a:off x="1922490" y="2568414"/>
              <a:ext cx="586166" cy="388030"/>
            </a:xfrm>
            <a:custGeom>
              <a:avLst/>
              <a:gdLst>
                <a:gd name="connsiteX0" fmla="*/ 577951 w 586166"/>
                <a:gd name="connsiteY0" fmla="*/ 3931 h 388030"/>
                <a:gd name="connsiteX1" fmla="*/ 491698 w 586166"/>
                <a:gd name="connsiteY1" fmla="*/ 0 h 388030"/>
                <a:gd name="connsiteX2" fmla="*/ 205425 w 586166"/>
                <a:gd name="connsiteY2" fmla="*/ 62670 h 388030"/>
                <a:gd name="connsiteX3" fmla="*/ 13266 w 586166"/>
                <a:gd name="connsiteY3" fmla="*/ 184189 h 388030"/>
                <a:gd name="connsiteX4" fmla="*/ 1474 w 586166"/>
                <a:gd name="connsiteY4" fmla="*/ 235177 h 388030"/>
                <a:gd name="connsiteX5" fmla="*/ 36740 w 586166"/>
                <a:gd name="connsiteY5" fmla="*/ 388030 h 388030"/>
                <a:gd name="connsiteX6" fmla="*/ 323013 w 586166"/>
                <a:gd name="connsiteY6" fmla="*/ 258651 h 388030"/>
                <a:gd name="connsiteX7" fmla="*/ 581882 w 586166"/>
                <a:gd name="connsiteY7" fmla="*/ 19653 h 388030"/>
                <a:gd name="connsiteX8" fmla="*/ 577951 w 586166"/>
                <a:gd name="connsiteY8" fmla="*/ 3931 h 38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6166" h="388030">
                  <a:moveTo>
                    <a:pt x="577951" y="3931"/>
                  </a:moveTo>
                  <a:cubicBezTo>
                    <a:pt x="550547" y="0"/>
                    <a:pt x="519102" y="0"/>
                    <a:pt x="491698" y="0"/>
                  </a:cubicBezTo>
                  <a:cubicBezTo>
                    <a:pt x="389723" y="0"/>
                    <a:pt x="295608" y="19653"/>
                    <a:pt x="205425" y="62670"/>
                  </a:cubicBezTo>
                  <a:cubicBezTo>
                    <a:pt x="134893" y="90075"/>
                    <a:pt x="72114" y="133201"/>
                    <a:pt x="13266" y="184189"/>
                  </a:cubicBezTo>
                  <a:cubicBezTo>
                    <a:pt x="1474" y="199911"/>
                    <a:pt x="-2457" y="215524"/>
                    <a:pt x="1474" y="235177"/>
                  </a:cubicBezTo>
                  <a:lnTo>
                    <a:pt x="36740" y="388030"/>
                  </a:lnTo>
                  <a:lnTo>
                    <a:pt x="323013" y="258651"/>
                  </a:lnTo>
                  <a:lnTo>
                    <a:pt x="581882" y="19653"/>
                  </a:lnTo>
                  <a:cubicBezTo>
                    <a:pt x="589743" y="15722"/>
                    <a:pt x="585812" y="3931"/>
                    <a:pt x="577951" y="3931"/>
                  </a:cubicBez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F578B884-1941-902E-7AB5-DA86538C8014}"/>
                </a:ext>
              </a:extLst>
            </p:cNvPr>
            <p:cNvSpPr/>
            <p:nvPr/>
          </p:nvSpPr>
          <p:spPr>
            <a:xfrm>
              <a:off x="2853315" y="3019223"/>
              <a:ext cx="262799" cy="670727"/>
            </a:xfrm>
            <a:custGeom>
              <a:avLst/>
              <a:gdLst>
                <a:gd name="connsiteX0" fmla="*/ 43127 w 262799"/>
                <a:gd name="connsiteY0" fmla="*/ 0 h 670727"/>
                <a:gd name="connsiteX1" fmla="*/ 0 w 262799"/>
                <a:gd name="connsiteY1" fmla="*/ 211703 h 670727"/>
                <a:gd name="connsiteX2" fmla="*/ 101975 w 262799"/>
                <a:gd name="connsiteY2" fmla="*/ 662512 h 670727"/>
                <a:gd name="connsiteX3" fmla="*/ 121628 w 262799"/>
                <a:gd name="connsiteY3" fmla="*/ 666443 h 670727"/>
                <a:gd name="connsiteX4" fmla="*/ 219673 w 262799"/>
                <a:gd name="connsiteY4" fmla="*/ 486075 h 670727"/>
                <a:gd name="connsiteX5" fmla="*/ 262799 w 262799"/>
                <a:gd name="connsiteY5" fmla="*/ 246968 h 670727"/>
                <a:gd name="connsiteX6" fmla="*/ 243256 w 262799"/>
                <a:gd name="connsiteY6" fmla="*/ 86253 h 670727"/>
                <a:gd name="connsiteX7" fmla="*/ 207990 w 262799"/>
                <a:gd name="connsiteY7" fmla="*/ 50988 h 670727"/>
                <a:gd name="connsiteX8" fmla="*/ 43345 w 262799"/>
                <a:gd name="connsiteY8" fmla="*/ 0 h 6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799" h="670727">
                  <a:moveTo>
                    <a:pt x="43127" y="0"/>
                  </a:moveTo>
                  <a:cubicBezTo>
                    <a:pt x="35266" y="47057"/>
                    <a:pt x="19653" y="125449"/>
                    <a:pt x="0" y="211703"/>
                  </a:cubicBezTo>
                  <a:lnTo>
                    <a:pt x="101975" y="662512"/>
                  </a:lnTo>
                  <a:cubicBezTo>
                    <a:pt x="101975" y="670373"/>
                    <a:pt x="113767" y="674304"/>
                    <a:pt x="121628" y="666443"/>
                  </a:cubicBezTo>
                  <a:cubicBezTo>
                    <a:pt x="164755" y="611525"/>
                    <a:pt x="196090" y="548855"/>
                    <a:pt x="219673" y="486075"/>
                  </a:cubicBezTo>
                  <a:cubicBezTo>
                    <a:pt x="247077" y="407683"/>
                    <a:pt x="262799" y="329291"/>
                    <a:pt x="262799" y="246968"/>
                  </a:cubicBezTo>
                  <a:cubicBezTo>
                    <a:pt x="262799" y="192050"/>
                    <a:pt x="254938" y="141171"/>
                    <a:pt x="243256" y="86253"/>
                  </a:cubicBezTo>
                  <a:cubicBezTo>
                    <a:pt x="239325" y="70531"/>
                    <a:pt x="227534" y="54918"/>
                    <a:pt x="207990" y="50988"/>
                  </a:cubicBezTo>
                  <a:lnTo>
                    <a:pt x="43345" y="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0BCCAB09-0033-ADF1-620B-7F8FABCC9D52}"/>
                </a:ext>
              </a:extLst>
            </p:cNvPr>
            <p:cNvSpPr/>
            <p:nvPr/>
          </p:nvSpPr>
          <p:spPr>
            <a:xfrm>
              <a:off x="2319828" y="3352335"/>
              <a:ext cx="581745" cy="611633"/>
            </a:xfrm>
            <a:custGeom>
              <a:avLst/>
              <a:gdLst>
                <a:gd name="connsiteX0" fmla="*/ 498221 w 581745"/>
                <a:gd name="connsiteY0" fmla="*/ 109 h 611633"/>
                <a:gd name="connsiteX1" fmla="*/ 470817 w 581745"/>
                <a:gd name="connsiteY1" fmla="*/ 86362 h 611633"/>
                <a:gd name="connsiteX2" fmla="*/ 259114 w 581745"/>
                <a:gd name="connsiteY2" fmla="*/ 372527 h 611633"/>
                <a:gd name="connsiteX3" fmla="*/ 172861 w 581745"/>
                <a:gd name="connsiteY3" fmla="*/ 439127 h 611633"/>
                <a:gd name="connsiteX4" fmla="*/ 125804 w 581745"/>
                <a:gd name="connsiteY4" fmla="*/ 478323 h 611633"/>
                <a:gd name="connsiteX5" fmla="*/ 4285 w 581745"/>
                <a:gd name="connsiteY5" fmla="*/ 591981 h 611633"/>
                <a:gd name="connsiteX6" fmla="*/ 8215 w 581745"/>
                <a:gd name="connsiteY6" fmla="*/ 607703 h 611633"/>
                <a:gd name="connsiteX7" fmla="*/ 94469 w 581745"/>
                <a:gd name="connsiteY7" fmla="*/ 611634 h 611633"/>
                <a:gd name="connsiteX8" fmla="*/ 380742 w 581745"/>
                <a:gd name="connsiteY8" fmla="*/ 548855 h 611633"/>
                <a:gd name="connsiteX9" fmla="*/ 565040 w 581745"/>
                <a:gd name="connsiteY9" fmla="*/ 427336 h 611633"/>
                <a:gd name="connsiteX10" fmla="*/ 580762 w 581745"/>
                <a:gd name="connsiteY10" fmla="*/ 380279 h 611633"/>
                <a:gd name="connsiteX11" fmla="*/ 498439 w 581745"/>
                <a:gd name="connsiteY11" fmla="*/ 0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745" h="611633">
                  <a:moveTo>
                    <a:pt x="498221" y="109"/>
                  </a:moveTo>
                  <a:cubicBezTo>
                    <a:pt x="490360" y="31444"/>
                    <a:pt x="478568" y="58958"/>
                    <a:pt x="470817" y="86362"/>
                  </a:cubicBezTo>
                  <a:cubicBezTo>
                    <a:pt x="427690" y="196090"/>
                    <a:pt x="357159" y="290204"/>
                    <a:pt x="259114" y="372527"/>
                  </a:cubicBezTo>
                  <a:cubicBezTo>
                    <a:pt x="231710" y="396001"/>
                    <a:pt x="204196" y="415653"/>
                    <a:pt x="172861" y="439127"/>
                  </a:cubicBezTo>
                  <a:cubicBezTo>
                    <a:pt x="157139" y="450919"/>
                    <a:pt x="141526" y="462601"/>
                    <a:pt x="125804" y="478323"/>
                  </a:cubicBezTo>
                  <a:cubicBezTo>
                    <a:pt x="102330" y="501797"/>
                    <a:pt x="51342" y="548855"/>
                    <a:pt x="4285" y="591981"/>
                  </a:cubicBezTo>
                  <a:cubicBezTo>
                    <a:pt x="-3576" y="595912"/>
                    <a:pt x="354" y="607703"/>
                    <a:pt x="8215" y="607703"/>
                  </a:cubicBezTo>
                  <a:cubicBezTo>
                    <a:pt x="35620" y="611634"/>
                    <a:pt x="63134" y="611634"/>
                    <a:pt x="94469" y="611634"/>
                  </a:cubicBezTo>
                  <a:cubicBezTo>
                    <a:pt x="196444" y="611634"/>
                    <a:pt x="290558" y="591981"/>
                    <a:pt x="380742" y="548855"/>
                  </a:cubicBezTo>
                  <a:cubicBezTo>
                    <a:pt x="447343" y="517519"/>
                    <a:pt x="510122" y="478323"/>
                    <a:pt x="565040" y="427336"/>
                  </a:cubicBezTo>
                  <a:cubicBezTo>
                    <a:pt x="576832" y="415544"/>
                    <a:pt x="584583" y="396001"/>
                    <a:pt x="580762" y="380279"/>
                  </a:cubicBezTo>
                  <a:lnTo>
                    <a:pt x="498439" y="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028880D3-4BE2-779C-74A3-DCE3CEFB29B3}"/>
                </a:ext>
              </a:extLst>
            </p:cNvPr>
            <p:cNvSpPr/>
            <p:nvPr/>
          </p:nvSpPr>
          <p:spPr>
            <a:xfrm>
              <a:off x="1770174" y="3527836"/>
              <a:ext cx="608748" cy="406381"/>
            </a:xfrm>
            <a:custGeom>
              <a:avLst/>
              <a:gdLst>
                <a:gd name="connsiteX0" fmla="*/ 608749 w 608748"/>
                <a:gd name="connsiteY0" fmla="*/ 283279 h 406381"/>
                <a:gd name="connsiteX1" fmla="*/ 404907 w 608748"/>
                <a:gd name="connsiteY1" fmla="*/ 122564 h 406381"/>
                <a:gd name="connsiteX2" fmla="*/ 12837 w 608748"/>
                <a:gd name="connsiteY2" fmla="*/ 1045 h 406381"/>
                <a:gd name="connsiteX3" fmla="*/ 1045 w 608748"/>
                <a:gd name="connsiteY3" fmla="*/ 12837 h 406381"/>
                <a:gd name="connsiteX4" fmla="*/ 185343 w 608748"/>
                <a:gd name="connsiteY4" fmla="*/ 267666 h 406381"/>
                <a:gd name="connsiteX5" fmla="*/ 436242 w 608748"/>
                <a:gd name="connsiteY5" fmla="*/ 404907 h 406381"/>
                <a:gd name="connsiteX6" fmla="*/ 487230 w 608748"/>
                <a:gd name="connsiteY6" fmla="*/ 393116 h 406381"/>
                <a:gd name="connsiteX7" fmla="*/ 608749 w 608748"/>
                <a:gd name="connsiteY7" fmla="*/ 283388 h 40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8748" h="406381">
                  <a:moveTo>
                    <a:pt x="608749" y="283279"/>
                  </a:moveTo>
                  <a:cubicBezTo>
                    <a:pt x="561691" y="259805"/>
                    <a:pt x="479369" y="208818"/>
                    <a:pt x="404907" y="122564"/>
                  </a:cubicBezTo>
                  <a:lnTo>
                    <a:pt x="12837" y="1045"/>
                  </a:lnTo>
                  <a:cubicBezTo>
                    <a:pt x="4976" y="-2885"/>
                    <a:pt x="-2885" y="4976"/>
                    <a:pt x="1045" y="12837"/>
                  </a:cubicBezTo>
                  <a:cubicBezTo>
                    <a:pt x="40242" y="110882"/>
                    <a:pt x="103021" y="197135"/>
                    <a:pt x="185343" y="267666"/>
                  </a:cubicBezTo>
                  <a:cubicBezTo>
                    <a:pt x="259805" y="330336"/>
                    <a:pt x="346058" y="377394"/>
                    <a:pt x="436242" y="404907"/>
                  </a:cubicBezTo>
                  <a:cubicBezTo>
                    <a:pt x="451964" y="408838"/>
                    <a:pt x="471508" y="404907"/>
                    <a:pt x="487230" y="393116"/>
                  </a:cubicBezTo>
                  <a:lnTo>
                    <a:pt x="608749" y="283388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DD141BEE-4A6F-E907-E6CD-713B9205CB9D}"/>
                </a:ext>
              </a:extLst>
            </p:cNvPr>
            <p:cNvSpPr/>
            <p:nvPr/>
          </p:nvSpPr>
          <p:spPr>
            <a:xfrm>
              <a:off x="1712371" y="2842541"/>
              <a:ext cx="399931" cy="725536"/>
            </a:xfrm>
            <a:custGeom>
              <a:avLst/>
              <a:gdLst>
                <a:gd name="connsiteX0" fmla="*/ 399931 w 399931"/>
                <a:gd name="connsiteY0" fmla="*/ 725537 h 725536"/>
                <a:gd name="connsiteX1" fmla="*/ 392070 w 399931"/>
                <a:gd name="connsiteY1" fmla="*/ 709815 h 725536"/>
                <a:gd name="connsiteX2" fmla="*/ 333221 w 399931"/>
                <a:gd name="connsiteY2" fmla="*/ 604018 h 725536"/>
                <a:gd name="connsiteX3" fmla="*/ 294025 w 399931"/>
                <a:gd name="connsiteY3" fmla="*/ 498221 h 725536"/>
                <a:gd name="connsiteX4" fmla="*/ 180367 w 399931"/>
                <a:gd name="connsiteY4" fmla="*/ 94469 h 725536"/>
                <a:gd name="connsiteX5" fmla="*/ 156894 w 399931"/>
                <a:gd name="connsiteY5" fmla="*/ 8215 h 725536"/>
                <a:gd name="connsiteX6" fmla="*/ 141171 w 399931"/>
                <a:gd name="connsiteY6" fmla="*/ 4285 h 725536"/>
                <a:gd name="connsiteX7" fmla="*/ 43127 w 399931"/>
                <a:gd name="connsiteY7" fmla="*/ 184653 h 725536"/>
                <a:gd name="connsiteX8" fmla="*/ 0 w 399931"/>
                <a:gd name="connsiteY8" fmla="*/ 423760 h 725536"/>
                <a:gd name="connsiteX9" fmla="*/ 19653 w 399931"/>
                <a:gd name="connsiteY9" fmla="*/ 580544 h 725536"/>
                <a:gd name="connsiteX10" fmla="*/ 54918 w 399931"/>
                <a:gd name="connsiteY10" fmla="*/ 615810 h 725536"/>
                <a:gd name="connsiteX11" fmla="*/ 399931 w 399931"/>
                <a:gd name="connsiteY11" fmla="*/ 725537 h 72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9931" h="725536">
                  <a:moveTo>
                    <a:pt x="399931" y="725537"/>
                  </a:moveTo>
                  <a:cubicBezTo>
                    <a:pt x="396001" y="721606"/>
                    <a:pt x="392070" y="717676"/>
                    <a:pt x="392070" y="709815"/>
                  </a:cubicBezTo>
                  <a:cubicBezTo>
                    <a:pt x="364666" y="678480"/>
                    <a:pt x="348943" y="639284"/>
                    <a:pt x="333221" y="604018"/>
                  </a:cubicBezTo>
                  <a:cubicBezTo>
                    <a:pt x="321430" y="568752"/>
                    <a:pt x="305817" y="533487"/>
                    <a:pt x="294025" y="498221"/>
                  </a:cubicBezTo>
                  <a:cubicBezTo>
                    <a:pt x="254829" y="388494"/>
                    <a:pt x="215633" y="255184"/>
                    <a:pt x="180367" y="94469"/>
                  </a:cubicBezTo>
                  <a:cubicBezTo>
                    <a:pt x="168576" y="63134"/>
                    <a:pt x="164645" y="31799"/>
                    <a:pt x="156894" y="8215"/>
                  </a:cubicBezTo>
                  <a:cubicBezTo>
                    <a:pt x="156894" y="354"/>
                    <a:pt x="145102" y="-3576"/>
                    <a:pt x="141171" y="4285"/>
                  </a:cubicBezTo>
                  <a:cubicBezTo>
                    <a:pt x="98045" y="59203"/>
                    <a:pt x="66710" y="121873"/>
                    <a:pt x="43127" y="184653"/>
                  </a:cubicBezTo>
                  <a:cubicBezTo>
                    <a:pt x="15722" y="263045"/>
                    <a:pt x="0" y="341437"/>
                    <a:pt x="0" y="423760"/>
                  </a:cubicBezTo>
                  <a:cubicBezTo>
                    <a:pt x="0" y="474747"/>
                    <a:pt x="7861" y="529556"/>
                    <a:pt x="19653" y="580544"/>
                  </a:cubicBezTo>
                  <a:cubicBezTo>
                    <a:pt x="23583" y="596266"/>
                    <a:pt x="35375" y="611879"/>
                    <a:pt x="54918" y="615810"/>
                  </a:cubicBezTo>
                  <a:lnTo>
                    <a:pt x="399931" y="725537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B5E50688-2D03-8572-263E-6B42B6E5836E}"/>
                </a:ext>
              </a:extLst>
            </p:cNvPr>
            <p:cNvSpPr/>
            <p:nvPr/>
          </p:nvSpPr>
          <p:spPr>
            <a:xfrm>
              <a:off x="2406436" y="2594344"/>
              <a:ext cx="651930" cy="410202"/>
            </a:xfrm>
            <a:custGeom>
              <a:avLst/>
              <a:gdLst>
                <a:gd name="connsiteX0" fmla="*/ 650830 w 651930"/>
                <a:gd name="connsiteY0" fmla="*/ 397475 h 410202"/>
                <a:gd name="connsiteX1" fmla="*/ 466532 w 651930"/>
                <a:gd name="connsiteY1" fmla="*/ 142645 h 410202"/>
                <a:gd name="connsiteX2" fmla="*/ 211703 w 651930"/>
                <a:gd name="connsiteY2" fmla="*/ 1474 h 410202"/>
                <a:gd name="connsiteX3" fmla="*/ 164645 w 651930"/>
                <a:gd name="connsiteY3" fmla="*/ 13266 h 410202"/>
                <a:gd name="connsiteX4" fmla="*/ 0 w 651930"/>
                <a:gd name="connsiteY4" fmla="*/ 166119 h 410202"/>
                <a:gd name="connsiteX5" fmla="*/ 35266 w 651930"/>
                <a:gd name="connsiteY5" fmla="*/ 150397 h 410202"/>
                <a:gd name="connsiteX6" fmla="*/ 458671 w 651930"/>
                <a:gd name="connsiteY6" fmla="*/ 350308 h 410202"/>
                <a:gd name="connsiteX7" fmla="*/ 646899 w 651930"/>
                <a:gd name="connsiteY7" fmla="*/ 409157 h 410202"/>
                <a:gd name="connsiteX8" fmla="*/ 650830 w 651930"/>
                <a:gd name="connsiteY8" fmla="*/ 397365 h 41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1930" h="410202">
                  <a:moveTo>
                    <a:pt x="650830" y="397475"/>
                  </a:moveTo>
                  <a:cubicBezTo>
                    <a:pt x="611634" y="299430"/>
                    <a:pt x="544924" y="213177"/>
                    <a:pt x="466532" y="142645"/>
                  </a:cubicBezTo>
                  <a:cubicBezTo>
                    <a:pt x="392070" y="76045"/>
                    <a:pt x="305817" y="28988"/>
                    <a:pt x="211703" y="1474"/>
                  </a:cubicBezTo>
                  <a:cubicBezTo>
                    <a:pt x="195980" y="-2457"/>
                    <a:pt x="176437" y="1474"/>
                    <a:pt x="164645" y="13266"/>
                  </a:cubicBezTo>
                  <a:lnTo>
                    <a:pt x="0" y="166119"/>
                  </a:lnTo>
                  <a:lnTo>
                    <a:pt x="35266" y="150397"/>
                  </a:lnTo>
                  <a:lnTo>
                    <a:pt x="458671" y="350308"/>
                  </a:lnTo>
                  <a:lnTo>
                    <a:pt x="646899" y="409157"/>
                  </a:lnTo>
                  <a:cubicBezTo>
                    <a:pt x="646899" y="413088"/>
                    <a:pt x="654760" y="405227"/>
                    <a:pt x="650830" y="397365"/>
                  </a:cubicBez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</p:spTree>
    <p:extLst>
      <p:ext uri="{BB962C8B-B14F-4D97-AF65-F5344CB8AC3E}">
        <p14:creationId xmlns:p14="http://schemas.microsoft.com/office/powerpoint/2010/main" val="133461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35"/>
    </mc:Choice>
    <mc:Fallback xmlns="">
      <p:transition spd="slow" advTm="163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hoek 29">
            <a:extLst>
              <a:ext uri="{FF2B5EF4-FFF2-40B4-BE49-F238E27FC236}">
                <a16:creationId xmlns:a16="http://schemas.microsoft.com/office/drawing/2014/main" id="{C7F3191F-71EE-9174-F01D-97D899400C64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1221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31" name="!!BG">
            <a:extLst>
              <a:ext uri="{FF2B5EF4-FFF2-40B4-BE49-F238E27FC236}">
                <a16:creationId xmlns:a16="http://schemas.microsoft.com/office/drawing/2014/main" id="{18E2DEDD-A558-0388-7D97-B947115F0C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259097" y="-4270047"/>
            <a:ext cx="6859934" cy="15396162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6456C076-7DC1-2683-F885-474B2A16CFD2}"/>
              </a:ext>
            </a:extLst>
          </p:cNvPr>
          <p:cNvSpPr txBox="1"/>
          <p:nvPr/>
        </p:nvSpPr>
        <p:spPr>
          <a:xfrm>
            <a:off x="460342" y="2427048"/>
            <a:ext cx="519146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The</a:t>
            </a:r>
            <a:r>
              <a:rPr kumimoji="0" lang="en-US" sz="32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 biggest challenge is</a:t>
            </a:r>
            <a:endParaRPr kumimoji="0" lang="nl-BE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82C379A5-7E56-322B-3CC3-2CD2134DB680}"/>
              </a:ext>
            </a:extLst>
          </p:cNvPr>
          <p:cNvGrpSpPr/>
          <p:nvPr/>
        </p:nvGrpSpPr>
        <p:grpSpPr>
          <a:xfrm>
            <a:off x="1570171" y="3554655"/>
            <a:ext cx="3773695" cy="1015663"/>
            <a:chOff x="1539793" y="2866691"/>
            <a:chExt cx="2434302" cy="1015663"/>
          </a:xfrm>
        </p:grpSpPr>
        <p:sp>
          <p:nvSpPr>
            <p:cNvPr id="3" name="Rechthoek: afgeronde hoeken 2">
              <a:extLst>
                <a:ext uri="{FF2B5EF4-FFF2-40B4-BE49-F238E27FC236}">
                  <a16:creationId xmlns:a16="http://schemas.microsoft.com/office/drawing/2014/main" id="{93B3E52D-A54D-DC15-66CE-D930743D6CAD}"/>
                </a:ext>
              </a:extLst>
            </p:cNvPr>
            <p:cNvSpPr/>
            <p:nvPr/>
          </p:nvSpPr>
          <p:spPr>
            <a:xfrm>
              <a:off x="2090422" y="2911336"/>
              <a:ext cx="1331552" cy="860612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000"/>
            </a:p>
          </p:txBody>
        </p:sp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91E793F6-714C-2815-66AD-CEE059C0A52C}"/>
                </a:ext>
              </a:extLst>
            </p:cNvPr>
            <p:cNvSpPr txBox="1"/>
            <p:nvPr/>
          </p:nvSpPr>
          <p:spPr>
            <a:xfrm>
              <a:off x="1539793" y="2866691"/>
              <a:ext cx="2434302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6000" b="1">
                  <a:solidFill>
                    <a:schemeClr val="bg1"/>
                  </a:solidFill>
                </a:rPr>
                <a:t>TIME</a:t>
              </a:r>
            </a:p>
          </p:txBody>
        </p:sp>
      </p:grp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C5A5B50A-19AC-2906-DE5C-626B86F5595A}"/>
              </a:ext>
            </a:extLst>
          </p:cNvPr>
          <p:cNvSpPr/>
          <p:nvPr/>
        </p:nvSpPr>
        <p:spPr>
          <a:xfrm>
            <a:off x="1606826" y="3247266"/>
            <a:ext cx="878692" cy="879648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9A66EFA-EC7E-CFD6-478A-3F4C68E27F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00738" y="3441656"/>
            <a:ext cx="490868" cy="490868"/>
          </a:xfrm>
          <a:prstGeom prst="rect">
            <a:avLst/>
          </a:prstGeom>
        </p:spPr>
      </p:pic>
      <p:sp>
        <p:nvSpPr>
          <p:cNvPr id="6" name="Vrije vorm: vorm 5">
            <a:extLst>
              <a:ext uri="{FF2B5EF4-FFF2-40B4-BE49-F238E27FC236}">
                <a16:creationId xmlns:a16="http://schemas.microsoft.com/office/drawing/2014/main" id="{C7057236-5FE4-E81D-A949-DDC33870790F}"/>
              </a:ext>
            </a:extLst>
          </p:cNvPr>
          <p:cNvSpPr/>
          <p:nvPr/>
        </p:nvSpPr>
        <p:spPr>
          <a:xfrm>
            <a:off x="6876688" y="1263818"/>
            <a:ext cx="1938441" cy="1283208"/>
          </a:xfrm>
          <a:custGeom>
            <a:avLst/>
            <a:gdLst>
              <a:gd name="connsiteX0" fmla="*/ 577951 w 586166"/>
              <a:gd name="connsiteY0" fmla="*/ 3931 h 388030"/>
              <a:gd name="connsiteX1" fmla="*/ 491698 w 586166"/>
              <a:gd name="connsiteY1" fmla="*/ 0 h 388030"/>
              <a:gd name="connsiteX2" fmla="*/ 205425 w 586166"/>
              <a:gd name="connsiteY2" fmla="*/ 62670 h 388030"/>
              <a:gd name="connsiteX3" fmla="*/ 13266 w 586166"/>
              <a:gd name="connsiteY3" fmla="*/ 184189 h 388030"/>
              <a:gd name="connsiteX4" fmla="*/ 1474 w 586166"/>
              <a:gd name="connsiteY4" fmla="*/ 235177 h 388030"/>
              <a:gd name="connsiteX5" fmla="*/ 36740 w 586166"/>
              <a:gd name="connsiteY5" fmla="*/ 388030 h 388030"/>
              <a:gd name="connsiteX6" fmla="*/ 323013 w 586166"/>
              <a:gd name="connsiteY6" fmla="*/ 258651 h 388030"/>
              <a:gd name="connsiteX7" fmla="*/ 581882 w 586166"/>
              <a:gd name="connsiteY7" fmla="*/ 19653 h 388030"/>
              <a:gd name="connsiteX8" fmla="*/ 577951 w 586166"/>
              <a:gd name="connsiteY8" fmla="*/ 3931 h 38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166" h="388030">
                <a:moveTo>
                  <a:pt x="577951" y="3931"/>
                </a:moveTo>
                <a:cubicBezTo>
                  <a:pt x="550547" y="0"/>
                  <a:pt x="519102" y="0"/>
                  <a:pt x="491698" y="0"/>
                </a:cubicBezTo>
                <a:cubicBezTo>
                  <a:pt x="389723" y="0"/>
                  <a:pt x="295608" y="19653"/>
                  <a:pt x="205425" y="62670"/>
                </a:cubicBezTo>
                <a:cubicBezTo>
                  <a:pt x="134893" y="90075"/>
                  <a:pt x="72114" y="133201"/>
                  <a:pt x="13266" y="184189"/>
                </a:cubicBezTo>
                <a:cubicBezTo>
                  <a:pt x="1474" y="199911"/>
                  <a:pt x="-2457" y="215524"/>
                  <a:pt x="1474" y="235177"/>
                </a:cubicBezTo>
                <a:lnTo>
                  <a:pt x="36740" y="388030"/>
                </a:lnTo>
                <a:lnTo>
                  <a:pt x="323013" y="258651"/>
                </a:lnTo>
                <a:lnTo>
                  <a:pt x="581882" y="19653"/>
                </a:lnTo>
                <a:cubicBezTo>
                  <a:pt x="589743" y="15722"/>
                  <a:pt x="585812" y="3931"/>
                  <a:pt x="577951" y="3931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02AB933A-26A1-7311-AE6B-37299736E3AC}"/>
              </a:ext>
            </a:extLst>
          </p:cNvPr>
          <p:cNvSpPr/>
          <p:nvPr/>
        </p:nvSpPr>
        <p:spPr>
          <a:xfrm>
            <a:off x="9954910" y="2754636"/>
            <a:ext cx="869072" cy="2218082"/>
          </a:xfrm>
          <a:custGeom>
            <a:avLst/>
            <a:gdLst>
              <a:gd name="connsiteX0" fmla="*/ 43127 w 262799"/>
              <a:gd name="connsiteY0" fmla="*/ 0 h 670727"/>
              <a:gd name="connsiteX1" fmla="*/ 0 w 262799"/>
              <a:gd name="connsiteY1" fmla="*/ 211703 h 670727"/>
              <a:gd name="connsiteX2" fmla="*/ 101975 w 262799"/>
              <a:gd name="connsiteY2" fmla="*/ 662512 h 670727"/>
              <a:gd name="connsiteX3" fmla="*/ 121628 w 262799"/>
              <a:gd name="connsiteY3" fmla="*/ 666443 h 670727"/>
              <a:gd name="connsiteX4" fmla="*/ 219673 w 262799"/>
              <a:gd name="connsiteY4" fmla="*/ 486075 h 670727"/>
              <a:gd name="connsiteX5" fmla="*/ 262799 w 262799"/>
              <a:gd name="connsiteY5" fmla="*/ 246968 h 670727"/>
              <a:gd name="connsiteX6" fmla="*/ 243256 w 262799"/>
              <a:gd name="connsiteY6" fmla="*/ 86253 h 670727"/>
              <a:gd name="connsiteX7" fmla="*/ 207990 w 262799"/>
              <a:gd name="connsiteY7" fmla="*/ 50988 h 670727"/>
              <a:gd name="connsiteX8" fmla="*/ 43345 w 262799"/>
              <a:gd name="connsiteY8" fmla="*/ 0 h 670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799" h="670727">
                <a:moveTo>
                  <a:pt x="43127" y="0"/>
                </a:moveTo>
                <a:cubicBezTo>
                  <a:pt x="35266" y="47057"/>
                  <a:pt x="19653" y="125449"/>
                  <a:pt x="0" y="211703"/>
                </a:cubicBezTo>
                <a:lnTo>
                  <a:pt x="101975" y="662512"/>
                </a:lnTo>
                <a:cubicBezTo>
                  <a:pt x="101975" y="670373"/>
                  <a:pt x="113767" y="674304"/>
                  <a:pt x="121628" y="666443"/>
                </a:cubicBezTo>
                <a:cubicBezTo>
                  <a:pt x="164755" y="611525"/>
                  <a:pt x="196090" y="548855"/>
                  <a:pt x="219673" y="486075"/>
                </a:cubicBezTo>
                <a:cubicBezTo>
                  <a:pt x="247077" y="407683"/>
                  <a:pt x="262799" y="329291"/>
                  <a:pt x="262799" y="246968"/>
                </a:cubicBezTo>
                <a:cubicBezTo>
                  <a:pt x="262799" y="192050"/>
                  <a:pt x="254938" y="141171"/>
                  <a:pt x="243256" y="86253"/>
                </a:cubicBezTo>
                <a:cubicBezTo>
                  <a:pt x="239325" y="70531"/>
                  <a:pt x="227534" y="54918"/>
                  <a:pt x="207990" y="50988"/>
                </a:cubicBezTo>
                <a:lnTo>
                  <a:pt x="43345" y="0"/>
                </a:ln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9" name="Vrije vorm: vorm 8">
            <a:extLst>
              <a:ext uri="{FF2B5EF4-FFF2-40B4-BE49-F238E27FC236}">
                <a16:creationId xmlns:a16="http://schemas.microsoft.com/office/drawing/2014/main" id="{C2233BDF-7E78-8851-55B2-475F9187EC0B}"/>
              </a:ext>
            </a:extLst>
          </p:cNvPr>
          <p:cNvSpPr/>
          <p:nvPr/>
        </p:nvSpPr>
        <p:spPr>
          <a:xfrm>
            <a:off x="8190678" y="3856231"/>
            <a:ext cx="1923820" cy="2022659"/>
          </a:xfrm>
          <a:custGeom>
            <a:avLst/>
            <a:gdLst>
              <a:gd name="connsiteX0" fmla="*/ 498221 w 581745"/>
              <a:gd name="connsiteY0" fmla="*/ 109 h 611633"/>
              <a:gd name="connsiteX1" fmla="*/ 470817 w 581745"/>
              <a:gd name="connsiteY1" fmla="*/ 86362 h 611633"/>
              <a:gd name="connsiteX2" fmla="*/ 259114 w 581745"/>
              <a:gd name="connsiteY2" fmla="*/ 372527 h 611633"/>
              <a:gd name="connsiteX3" fmla="*/ 172861 w 581745"/>
              <a:gd name="connsiteY3" fmla="*/ 439127 h 611633"/>
              <a:gd name="connsiteX4" fmla="*/ 125804 w 581745"/>
              <a:gd name="connsiteY4" fmla="*/ 478323 h 611633"/>
              <a:gd name="connsiteX5" fmla="*/ 4285 w 581745"/>
              <a:gd name="connsiteY5" fmla="*/ 591981 h 611633"/>
              <a:gd name="connsiteX6" fmla="*/ 8215 w 581745"/>
              <a:gd name="connsiteY6" fmla="*/ 607703 h 611633"/>
              <a:gd name="connsiteX7" fmla="*/ 94469 w 581745"/>
              <a:gd name="connsiteY7" fmla="*/ 611634 h 611633"/>
              <a:gd name="connsiteX8" fmla="*/ 380742 w 581745"/>
              <a:gd name="connsiteY8" fmla="*/ 548855 h 611633"/>
              <a:gd name="connsiteX9" fmla="*/ 565040 w 581745"/>
              <a:gd name="connsiteY9" fmla="*/ 427336 h 611633"/>
              <a:gd name="connsiteX10" fmla="*/ 580762 w 581745"/>
              <a:gd name="connsiteY10" fmla="*/ 380279 h 611633"/>
              <a:gd name="connsiteX11" fmla="*/ 498439 w 581745"/>
              <a:gd name="connsiteY11" fmla="*/ 0 h 61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1745" h="611633">
                <a:moveTo>
                  <a:pt x="498221" y="109"/>
                </a:moveTo>
                <a:cubicBezTo>
                  <a:pt x="490360" y="31444"/>
                  <a:pt x="478568" y="58958"/>
                  <a:pt x="470817" y="86362"/>
                </a:cubicBezTo>
                <a:cubicBezTo>
                  <a:pt x="427690" y="196090"/>
                  <a:pt x="357159" y="290204"/>
                  <a:pt x="259114" y="372527"/>
                </a:cubicBezTo>
                <a:cubicBezTo>
                  <a:pt x="231710" y="396001"/>
                  <a:pt x="204196" y="415653"/>
                  <a:pt x="172861" y="439127"/>
                </a:cubicBezTo>
                <a:cubicBezTo>
                  <a:pt x="157139" y="450919"/>
                  <a:pt x="141526" y="462601"/>
                  <a:pt x="125804" y="478323"/>
                </a:cubicBezTo>
                <a:cubicBezTo>
                  <a:pt x="102330" y="501797"/>
                  <a:pt x="51342" y="548855"/>
                  <a:pt x="4285" y="591981"/>
                </a:cubicBezTo>
                <a:cubicBezTo>
                  <a:pt x="-3576" y="595912"/>
                  <a:pt x="354" y="607703"/>
                  <a:pt x="8215" y="607703"/>
                </a:cubicBezTo>
                <a:cubicBezTo>
                  <a:pt x="35620" y="611634"/>
                  <a:pt x="63134" y="611634"/>
                  <a:pt x="94469" y="611634"/>
                </a:cubicBezTo>
                <a:cubicBezTo>
                  <a:pt x="196444" y="611634"/>
                  <a:pt x="290558" y="591981"/>
                  <a:pt x="380742" y="548855"/>
                </a:cubicBezTo>
                <a:cubicBezTo>
                  <a:pt x="447343" y="517519"/>
                  <a:pt x="510122" y="478323"/>
                  <a:pt x="565040" y="427336"/>
                </a:cubicBezTo>
                <a:cubicBezTo>
                  <a:pt x="576832" y="415544"/>
                  <a:pt x="584583" y="396001"/>
                  <a:pt x="580762" y="380279"/>
                </a:cubicBezTo>
                <a:lnTo>
                  <a:pt x="498439" y="0"/>
                </a:ln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11" name="Vrije vorm: vorm 10">
            <a:extLst>
              <a:ext uri="{FF2B5EF4-FFF2-40B4-BE49-F238E27FC236}">
                <a16:creationId xmlns:a16="http://schemas.microsoft.com/office/drawing/2014/main" id="{767854CE-A0AB-A9C5-C277-8A045E89DCB5}"/>
              </a:ext>
            </a:extLst>
          </p:cNvPr>
          <p:cNvSpPr/>
          <p:nvPr/>
        </p:nvSpPr>
        <p:spPr>
          <a:xfrm>
            <a:off x="6372981" y="4436610"/>
            <a:ext cx="2013119" cy="1343895"/>
          </a:xfrm>
          <a:custGeom>
            <a:avLst/>
            <a:gdLst>
              <a:gd name="connsiteX0" fmla="*/ 608749 w 608748"/>
              <a:gd name="connsiteY0" fmla="*/ 283279 h 406381"/>
              <a:gd name="connsiteX1" fmla="*/ 404907 w 608748"/>
              <a:gd name="connsiteY1" fmla="*/ 122564 h 406381"/>
              <a:gd name="connsiteX2" fmla="*/ 12837 w 608748"/>
              <a:gd name="connsiteY2" fmla="*/ 1045 h 406381"/>
              <a:gd name="connsiteX3" fmla="*/ 1045 w 608748"/>
              <a:gd name="connsiteY3" fmla="*/ 12837 h 406381"/>
              <a:gd name="connsiteX4" fmla="*/ 185343 w 608748"/>
              <a:gd name="connsiteY4" fmla="*/ 267666 h 406381"/>
              <a:gd name="connsiteX5" fmla="*/ 436242 w 608748"/>
              <a:gd name="connsiteY5" fmla="*/ 404907 h 406381"/>
              <a:gd name="connsiteX6" fmla="*/ 487230 w 608748"/>
              <a:gd name="connsiteY6" fmla="*/ 393116 h 406381"/>
              <a:gd name="connsiteX7" fmla="*/ 608749 w 608748"/>
              <a:gd name="connsiteY7" fmla="*/ 283388 h 40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8748" h="406381">
                <a:moveTo>
                  <a:pt x="608749" y="283279"/>
                </a:moveTo>
                <a:cubicBezTo>
                  <a:pt x="561691" y="259805"/>
                  <a:pt x="479369" y="208818"/>
                  <a:pt x="404907" y="122564"/>
                </a:cubicBezTo>
                <a:lnTo>
                  <a:pt x="12837" y="1045"/>
                </a:lnTo>
                <a:cubicBezTo>
                  <a:pt x="4976" y="-2885"/>
                  <a:pt x="-2885" y="4976"/>
                  <a:pt x="1045" y="12837"/>
                </a:cubicBezTo>
                <a:cubicBezTo>
                  <a:pt x="40242" y="110882"/>
                  <a:pt x="103021" y="197135"/>
                  <a:pt x="185343" y="267666"/>
                </a:cubicBezTo>
                <a:cubicBezTo>
                  <a:pt x="259805" y="330336"/>
                  <a:pt x="346058" y="377394"/>
                  <a:pt x="436242" y="404907"/>
                </a:cubicBezTo>
                <a:cubicBezTo>
                  <a:pt x="451964" y="408838"/>
                  <a:pt x="471508" y="404907"/>
                  <a:pt x="487230" y="393116"/>
                </a:cubicBezTo>
                <a:lnTo>
                  <a:pt x="608749" y="283388"/>
                </a:ln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EE8B5488-DAEF-FF70-B920-B75F9A45470A}"/>
              </a:ext>
            </a:extLst>
          </p:cNvPr>
          <p:cNvSpPr/>
          <p:nvPr/>
        </p:nvSpPr>
        <p:spPr>
          <a:xfrm>
            <a:off x="6181828" y="2170352"/>
            <a:ext cx="1322566" cy="2399335"/>
          </a:xfrm>
          <a:custGeom>
            <a:avLst/>
            <a:gdLst>
              <a:gd name="connsiteX0" fmla="*/ 399931 w 399931"/>
              <a:gd name="connsiteY0" fmla="*/ 725537 h 725536"/>
              <a:gd name="connsiteX1" fmla="*/ 392070 w 399931"/>
              <a:gd name="connsiteY1" fmla="*/ 709815 h 725536"/>
              <a:gd name="connsiteX2" fmla="*/ 333221 w 399931"/>
              <a:gd name="connsiteY2" fmla="*/ 604018 h 725536"/>
              <a:gd name="connsiteX3" fmla="*/ 294025 w 399931"/>
              <a:gd name="connsiteY3" fmla="*/ 498221 h 725536"/>
              <a:gd name="connsiteX4" fmla="*/ 180367 w 399931"/>
              <a:gd name="connsiteY4" fmla="*/ 94469 h 725536"/>
              <a:gd name="connsiteX5" fmla="*/ 156894 w 399931"/>
              <a:gd name="connsiteY5" fmla="*/ 8215 h 725536"/>
              <a:gd name="connsiteX6" fmla="*/ 141171 w 399931"/>
              <a:gd name="connsiteY6" fmla="*/ 4285 h 725536"/>
              <a:gd name="connsiteX7" fmla="*/ 43127 w 399931"/>
              <a:gd name="connsiteY7" fmla="*/ 184653 h 725536"/>
              <a:gd name="connsiteX8" fmla="*/ 0 w 399931"/>
              <a:gd name="connsiteY8" fmla="*/ 423760 h 725536"/>
              <a:gd name="connsiteX9" fmla="*/ 19653 w 399931"/>
              <a:gd name="connsiteY9" fmla="*/ 580544 h 725536"/>
              <a:gd name="connsiteX10" fmla="*/ 54918 w 399931"/>
              <a:gd name="connsiteY10" fmla="*/ 615810 h 725536"/>
              <a:gd name="connsiteX11" fmla="*/ 399931 w 399931"/>
              <a:gd name="connsiteY11" fmla="*/ 725537 h 7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9931" h="725536">
                <a:moveTo>
                  <a:pt x="399931" y="725537"/>
                </a:moveTo>
                <a:cubicBezTo>
                  <a:pt x="396001" y="721606"/>
                  <a:pt x="392070" y="717676"/>
                  <a:pt x="392070" y="709815"/>
                </a:cubicBezTo>
                <a:cubicBezTo>
                  <a:pt x="364666" y="678480"/>
                  <a:pt x="348943" y="639284"/>
                  <a:pt x="333221" y="604018"/>
                </a:cubicBezTo>
                <a:cubicBezTo>
                  <a:pt x="321430" y="568752"/>
                  <a:pt x="305817" y="533487"/>
                  <a:pt x="294025" y="498221"/>
                </a:cubicBezTo>
                <a:cubicBezTo>
                  <a:pt x="254829" y="388494"/>
                  <a:pt x="215633" y="255184"/>
                  <a:pt x="180367" y="94469"/>
                </a:cubicBezTo>
                <a:cubicBezTo>
                  <a:pt x="168576" y="63134"/>
                  <a:pt x="164645" y="31799"/>
                  <a:pt x="156894" y="8215"/>
                </a:cubicBezTo>
                <a:cubicBezTo>
                  <a:pt x="156894" y="354"/>
                  <a:pt x="145102" y="-3576"/>
                  <a:pt x="141171" y="4285"/>
                </a:cubicBezTo>
                <a:cubicBezTo>
                  <a:pt x="98045" y="59203"/>
                  <a:pt x="66710" y="121873"/>
                  <a:pt x="43127" y="184653"/>
                </a:cubicBezTo>
                <a:cubicBezTo>
                  <a:pt x="15722" y="263045"/>
                  <a:pt x="0" y="341437"/>
                  <a:pt x="0" y="423760"/>
                </a:cubicBezTo>
                <a:cubicBezTo>
                  <a:pt x="0" y="474747"/>
                  <a:pt x="7861" y="529556"/>
                  <a:pt x="19653" y="580544"/>
                </a:cubicBezTo>
                <a:cubicBezTo>
                  <a:pt x="23583" y="596266"/>
                  <a:pt x="35375" y="611879"/>
                  <a:pt x="54918" y="615810"/>
                </a:cubicBezTo>
                <a:lnTo>
                  <a:pt x="399931" y="725537"/>
                </a:ln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06EB2AE8-4403-6BAB-9684-42A05B0F3667}"/>
              </a:ext>
            </a:extLst>
          </p:cNvPr>
          <p:cNvSpPr/>
          <p:nvPr/>
        </p:nvSpPr>
        <p:spPr>
          <a:xfrm>
            <a:off x="8477088" y="1349568"/>
            <a:ext cx="2155921" cy="1356530"/>
          </a:xfrm>
          <a:custGeom>
            <a:avLst/>
            <a:gdLst>
              <a:gd name="connsiteX0" fmla="*/ 650830 w 651930"/>
              <a:gd name="connsiteY0" fmla="*/ 397475 h 410202"/>
              <a:gd name="connsiteX1" fmla="*/ 466532 w 651930"/>
              <a:gd name="connsiteY1" fmla="*/ 142645 h 410202"/>
              <a:gd name="connsiteX2" fmla="*/ 211703 w 651930"/>
              <a:gd name="connsiteY2" fmla="*/ 1474 h 410202"/>
              <a:gd name="connsiteX3" fmla="*/ 164645 w 651930"/>
              <a:gd name="connsiteY3" fmla="*/ 13266 h 410202"/>
              <a:gd name="connsiteX4" fmla="*/ 0 w 651930"/>
              <a:gd name="connsiteY4" fmla="*/ 166119 h 410202"/>
              <a:gd name="connsiteX5" fmla="*/ 35266 w 651930"/>
              <a:gd name="connsiteY5" fmla="*/ 150397 h 410202"/>
              <a:gd name="connsiteX6" fmla="*/ 458671 w 651930"/>
              <a:gd name="connsiteY6" fmla="*/ 350308 h 410202"/>
              <a:gd name="connsiteX7" fmla="*/ 646899 w 651930"/>
              <a:gd name="connsiteY7" fmla="*/ 409157 h 410202"/>
              <a:gd name="connsiteX8" fmla="*/ 650830 w 651930"/>
              <a:gd name="connsiteY8" fmla="*/ 397365 h 41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1930" h="410202">
                <a:moveTo>
                  <a:pt x="650830" y="397475"/>
                </a:moveTo>
                <a:cubicBezTo>
                  <a:pt x="611634" y="299430"/>
                  <a:pt x="544924" y="213177"/>
                  <a:pt x="466532" y="142645"/>
                </a:cubicBezTo>
                <a:cubicBezTo>
                  <a:pt x="392070" y="76045"/>
                  <a:pt x="305817" y="28988"/>
                  <a:pt x="211703" y="1474"/>
                </a:cubicBezTo>
                <a:cubicBezTo>
                  <a:pt x="195980" y="-2457"/>
                  <a:pt x="176437" y="1474"/>
                  <a:pt x="164645" y="13266"/>
                </a:cubicBezTo>
                <a:lnTo>
                  <a:pt x="0" y="166119"/>
                </a:lnTo>
                <a:lnTo>
                  <a:pt x="35266" y="150397"/>
                </a:lnTo>
                <a:lnTo>
                  <a:pt x="458671" y="350308"/>
                </a:lnTo>
                <a:lnTo>
                  <a:pt x="646899" y="409157"/>
                </a:lnTo>
                <a:cubicBezTo>
                  <a:pt x="646899" y="413088"/>
                  <a:pt x="654760" y="405227"/>
                  <a:pt x="650830" y="397365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 w="9525" cap="rnd">
            <a:solidFill>
              <a:schemeClr val="bg1"/>
            </a:solidFill>
            <a:prstDash val="solid"/>
            <a:round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69BBFA1D-A138-3702-1D96-3047AEC65E83}"/>
              </a:ext>
            </a:extLst>
          </p:cNvPr>
          <p:cNvSpPr txBox="1"/>
          <p:nvPr/>
        </p:nvSpPr>
        <p:spPr>
          <a:xfrm>
            <a:off x="5288234" y="3637801"/>
            <a:ext cx="1776449" cy="45175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Check for update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91DE04FF-D0AC-9541-8CA6-BD2A217304B0}"/>
              </a:ext>
            </a:extLst>
          </p:cNvPr>
          <p:cNvSpPr txBox="1"/>
          <p:nvPr/>
        </p:nvSpPr>
        <p:spPr>
          <a:xfrm>
            <a:off x="6096000" y="1024430"/>
            <a:ext cx="2367462" cy="39092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Create a new package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B6B548EC-C1A7-3D99-89C3-7CB59BC3C2D8}"/>
              </a:ext>
            </a:extLst>
          </p:cNvPr>
          <p:cNvSpPr txBox="1"/>
          <p:nvPr/>
        </p:nvSpPr>
        <p:spPr>
          <a:xfrm>
            <a:off x="9152587" y="1224880"/>
            <a:ext cx="1948845" cy="3909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Test the package</a:t>
            </a:r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4723F227-39CE-00BD-CF83-E09F03977F1D}"/>
              </a:ext>
            </a:extLst>
          </p:cNvPr>
          <p:cNvSpPr txBox="1"/>
          <p:nvPr/>
        </p:nvSpPr>
        <p:spPr>
          <a:xfrm>
            <a:off x="10258044" y="3957389"/>
            <a:ext cx="1625020" cy="3909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Deploy to pilot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41E4D0CC-2D0B-19F8-8477-13FF993B688A}"/>
              </a:ext>
            </a:extLst>
          </p:cNvPr>
          <p:cNvSpPr txBox="1"/>
          <p:nvPr/>
        </p:nvSpPr>
        <p:spPr>
          <a:xfrm>
            <a:off x="8610682" y="5526905"/>
            <a:ext cx="1064030" cy="3909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Validate</a:t>
            </a: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4CB8C7BB-806C-1808-76AB-7EF649EC380E}"/>
              </a:ext>
            </a:extLst>
          </p:cNvPr>
          <p:cNvSpPr txBox="1"/>
          <p:nvPr/>
        </p:nvSpPr>
        <p:spPr>
          <a:xfrm>
            <a:off x="6148399" y="4979634"/>
            <a:ext cx="949360" cy="3909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rgbClr val="10293E"/>
                </a:solidFill>
              </a:rPr>
              <a:t>Releas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AAE3941-11A6-04F6-7F52-C5C3B4FB4D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13365" y="1540123"/>
            <a:ext cx="495300" cy="4953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0518D8DA-49D5-BA3D-1A44-BFFEB8611C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1138" y="1802697"/>
            <a:ext cx="450273" cy="450273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26BA637E-AC83-211B-3069-F8F31CF2F5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28369" y="3319785"/>
            <a:ext cx="409575" cy="4953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82B926E-8A87-30D6-9080-E3070FECD03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278852" y="4948532"/>
            <a:ext cx="495300" cy="4953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1FDE8A1F-6A1C-248C-841C-B5BE153CFE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71516" y="4995232"/>
            <a:ext cx="450273" cy="450273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8E3A73AE-8CFA-D075-C777-D03674F97AC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47811" y="3018890"/>
            <a:ext cx="495300" cy="4953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86361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 advTm="10217">
        <p159:morph option="byObject"/>
      </p:transition>
    </mc:Choice>
    <mc:Fallback xmlns="">
      <p:transition spd="med" advTm="1021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10" fill="hold"/>
                                        <p:tgtEl>
                                          <p:spTgt spid="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750" fill="hold"/>
                                        <p:tgtEl>
                                          <p:spTgt spid="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45833E-6 0.03889 L 1.45833E-6 -4.44444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10" fill="hold"/>
                                        <p:tgtEl>
                                          <p:spTgt spid="1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750" fill="hold"/>
                                        <p:tgtEl>
                                          <p:spTgt spid="1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9167E-6 0.03889 L 2.29167E-6 -1.85185E-6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5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750" fill="hold"/>
                                        <p:tgtEl>
                                          <p:spTgt spid="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125E-6 0.03889 L 3.125E-6 3.7037E-7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2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91667E-6 0.03889 L 2.91667E-6 1.11111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9" dur="10" fill="hold"/>
                                        <p:tgtEl>
                                          <p:spTgt spid="1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1" dur="750" fill="hold"/>
                                        <p:tgtEl>
                                          <p:spTgt spid="1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0.03889 L -1.04167E-6 -1.48148E-6 " pathEditMode="relative" rAng="0" ptsTypes="AA">
                                      <p:cBhvr>
                                        <p:cTn id="8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6" dur="10" fill="hold"/>
                                        <p:tgtEl>
                                          <p:spTgt spid="1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8" dur="750" fill="hold"/>
                                        <p:tgtEl>
                                          <p:spTgt spid="1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75E-6 0.03889 L -3.75E-6 -2.22222E-6 " pathEditMode="relative" rAng="0" ptsTypes="AA">
                                      <p:cBhvr>
                                        <p:cTn id="10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6" grpId="2" animBg="1"/>
      <p:bldP spid="7" grpId="0" animBg="1"/>
      <p:bldP spid="7" grpId="1" animBg="1"/>
      <p:bldP spid="7" grpId="2" animBg="1"/>
      <p:bldP spid="9" grpId="0" animBg="1"/>
      <p:bldP spid="9" grpId="1" animBg="1"/>
      <p:bldP spid="9" grpId="2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3" grpId="0" animBg="1"/>
      <p:bldP spid="13" grpId="1" animBg="1"/>
      <p:bldP spid="13" grpId="2" animBg="1"/>
      <p:bldP spid="18" grpId="0" animBg="1"/>
      <p:bldP spid="20" grpId="0" animBg="1"/>
      <p:bldP spid="22" grpId="0" animBg="1"/>
      <p:bldP spid="26" grpId="0" animBg="1"/>
      <p:bldP spid="27" grpId="0" animBg="1"/>
      <p:bldP spid="2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hoek 29">
            <a:extLst>
              <a:ext uri="{FF2B5EF4-FFF2-40B4-BE49-F238E27FC236}">
                <a16:creationId xmlns:a16="http://schemas.microsoft.com/office/drawing/2014/main" id="{C7F3191F-71EE-9174-F01D-97D899400C64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1221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+mj-lt"/>
            </a:endParaRPr>
          </a:p>
        </p:txBody>
      </p:sp>
      <p:pic>
        <p:nvPicPr>
          <p:cNvPr id="31" name="!!BG">
            <a:extLst>
              <a:ext uri="{FF2B5EF4-FFF2-40B4-BE49-F238E27FC236}">
                <a16:creationId xmlns:a16="http://schemas.microsoft.com/office/drawing/2014/main" id="{18E2DEDD-A558-0388-7D97-B947115F0C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2675048" y="-2667967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45" name="Rechthoek: afgeronde hoeken 44">
            <a:extLst>
              <a:ext uri="{FF2B5EF4-FFF2-40B4-BE49-F238E27FC236}">
                <a16:creationId xmlns:a16="http://schemas.microsoft.com/office/drawing/2014/main" id="{2798BEA1-87DA-FF2C-B86F-9862CAB62EEE}"/>
              </a:ext>
            </a:extLst>
          </p:cNvPr>
          <p:cNvSpPr/>
          <p:nvPr/>
        </p:nvSpPr>
        <p:spPr>
          <a:xfrm>
            <a:off x="3593240" y="4381766"/>
            <a:ext cx="5005519" cy="126781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8B341E2B-67D0-8F10-72E7-F6ECA4FB9C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64818" y="4621603"/>
            <a:ext cx="788137" cy="788137"/>
          </a:xfrm>
          <a:prstGeom prst="rect">
            <a:avLst/>
          </a:prstGeom>
        </p:spPr>
      </p:pic>
      <p:sp>
        <p:nvSpPr>
          <p:cNvPr id="52" name="Tekstvak 51">
            <a:extLst>
              <a:ext uri="{FF2B5EF4-FFF2-40B4-BE49-F238E27FC236}">
                <a16:creationId xmlns:a16="http://schemas.microsoft.com/office/drawing/2014/main" id="{9F4FBABE-2037-2402-689F-6B07145FF6BB}"/>
              </a:ext>
            </a:extLst>
          </p:cNvPr>
          <p:cNvSpPr txBox="1"/>
          <p:nvPr/>
        </p:nvSpPr>
        <p:spPr>
          <a:xfrm>
            <a:off x="1524000" y="1180333"/>
            <a:ext cx="9144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3</a:t>
            </a:r>
            <a:r>
              <a:rPr kumimoji="0" lang="en-US" sz="4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 - 5 hours per update</a:t>
            </a:r>
            <a:endParaRPr kumimoji="0" lang="nl-BE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53" name="Groep 52">
            <a:extLst>
              <a:ext uri="{FF2B5EF4-FFF2-40B4-BE49-F238E27FC236}">
                <a16:creationId xmlns:a16="http://schemas.microsoft.com/office/drawing/2014/main" id="{6FC041B6-0A09-6DD7-EA12-AA0209988E05}"/>
              </a:ext>
            </a:extLst>
          </p:cNvPr>
          <p:cNvGrpSpPr/>
          <p:nvPr/>
        </p:nvGrpSpPr>
        <p:grpSpPr>
          <a:xfrm>
            <a:off x="5581343" y="2091292"/>
            <a:ext cx="1047344" cy="830997"/>
            <a:chOff x="2192057" y="2833146"/>
            <a:chExt cx="1129774" cy="1389614"/>
          </a:xfrm>
        </p:grpSpPr>
        <p:sp>
          <p:nvSpPr>
            <p:cNvPr id="54" name="Rechthoek: afgeronde hoeken 53">
              <a:extLst>
                <a:ext uri="{FF2B5EF4-FFF2-40B4-BE49-F238E27FC236}">
                  <a16:creationId xmlns:a16="http://schemas.microsoft.com/office/drawing/2014/main" id="{EC525168-27B1-524B-FA9B-3515623B39C3}"/>
                </a:ext>
              </a:extLst>
            </p:cNvPr>
            <p:cNvSpPr/>
            <p:nvPr/>
          </p:nvSpPr>
          <p:spPr>
            <a:xfrm>
              <a:off x="2402099" y="2963790"/>
              <a:ext cx="708199" cy="1078816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700">
                <a:latin typeface="+mj-lt"/>
              </a:endParaRPr>
            </a:p>
          </p:txBody>
        </p:sp>
        <p:sp>
          <p:nvSpPr>
            <p:cNvPr id="55" name="Tekstvak 54">
              <a:extLst>
                <a:ext uri="{FF2B5EF4-FFF2-40B4-BE49-F238E27FC236}">
                  <a16:creationId xmlns:a16="http://schemas.microsoft.com/office/drawing/2014/main" id="{27300FB2-708F-5997-59C9-9580E9249E48}"/>
                </a:ext>
              </a:extLst>
            </p:cNvPr>
            <p:cNvSpPr txBox="1"/>
            <p:nvPr/>
          </p:nvSpPr>
          <p:spPr>
            <a:xfrm>
              <a:off x="2192057" y="2833146"/>
              <a:ext cx="1129774" cy="13896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800" b="1">
                  <a:solidFill>
                    <a:schemeClr val="bg1"/>
                  </a:solidFill>
                  <a:latin typeface="+mj-lt"/>
                </a:rPr>
                <a:t>X</a:t>
              </a:r>
            </a:p>
          </p:txBody>
        </p:sp>
      </p:grpSp>
      <p:sp>
        <p:nvSpPr>
          <p:cNvPr id="56" name="Tekstvak 55">
            <a:extLst>
              <a:ext uri="{FF2B5EF4-FFF2-40B4-BE49-F238E27FC236}">
                <a16:creationId xmlns:a16="http://schemas.microsoft.com/office/drawing/2014/main" id="{5A534FC2-2A6D-B818-7C25-75FE0D9209F7}"/>
              </a:ext>
            </a:extLst>
          </p:cNvPr>
          <p:cNvSpPr txBox="1"/>
          <p:nvPr/>
        </p:nvSpPr>
        <p:spPr>
          <a:xfrm>
            <a:off x="1524000" y="2922289"/>
            <a:ext cx="9144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applications</a:t>
            </a:r>
            <a:endParaRPr kumimoji="0" lang="nl-BE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57" name="Groep 56">
            <a:extLst>
              <a:ext uri="{FF2B5EF4-FFF2-40B4-BE49-F238E27FC236}">
                <a16:creationId xmlns:a16="http://schemas.microsoft.com/office/drawing/2014/main" id="{0C7FECF9-4012-EC42-E0CD-F301A92C3919}"/>
              </a:ext>
            </a:extLst>
          </p:cNvPr>
          <p:cNvGrpSpPr/>
          <p:nvPr/>
        </p:nvGrpSpPr>
        <p:grpSpPr>
          <a:xfrm>
            <a:off x="5581343" y="3722829"/>
            <a:ext cx="1047344" cy="830997"/>
            <a:chOff x="2192057" y="2833146"/>
            <a:chExt cx="1129774" cy="1389614"/>
          </a:xfrm>
        </p:grpSpPr>
        <p:sp>
          <p:nvSpPr>
            <p:cNvPr id="58" name="Rechthoek: afgeronde hoeken 57">
              <a:extLst>
                <a:ext uri="{FF2B5EF4-FFF2-40B4-BE49-F238E27FC236}">
                  <a16:creationId xmlns:a16="http://schemas.microsoft.com/office/drawing/2014/main" id="{9AE37BFE-DD28-5F46-DA47-CF000CCBF2BE}"/>
                </a:ext>
              </a:extLst>
            </p:cNvPr>
            <p:cNvSpPr/>
            <p:nvPr/>
          </p:nvSpPr>
          <p:spPr>
            <a:xfrm>
              <a:off x="2402099" y="2963790"/>
              <a:ext cx="708199" cy="1078816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700">
                <a:latin typeface="+mj-lt"/>
              </a:endParaRPr>
            </a:p>
          </p:txBody>
        </p:sp>
        <p:sp>
          <p:nvSpPr>
            <p:cNvPr id="59" name="Tekstvak 58">
              <a:extLst>
                <a:ext uri="{FF2B5EF4-FFF2-40B4-BE49-F238E27FC236}">
                  <a16:creationId xmlns:a16="http://schemas.microsoft.com/office/drawing/2014/main" id="{E41411B9-9108-0F3A-24B3-D8CA5E142DE1}"/>
                </a:ext>
              </a:extLst>
            </p:cNvPr>
            <p:cNvSpPr txBox="1"/>
            <p:nvPr/>
          </p:nvSpPr>
          <p:spPr>
            <a:xfrm>
              <a:off x="2192057" y="2833146"/>
              <a:ext cx="1129774" cy="13896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800" b="1">
                  <a:solidFill>
                    <a:schemeClr val="bg1"/>
                  </a:solidFill>
                  <a:latin typeface="+mj-lt"/>
                </a:rPr>
                <a:t>=</a:t>
              </a:r>
            </a:p>
          </p:txBody>
        </p:sp>
      </p:grpSp>
      <p:sp>
        <p:nvSpPr>
          <p:cNvPr id="60" name="Tekstvak 59">
            <a:extLst>
              <a:ext uri="{FF2B5EF4-FFF2-40B4-BE49-F238E27FC236}">
                <a16:creationId xmlns:a16="http://schemas.microsoft.com/office/drawing/2014/main" id="{B2D210C3-0C81-FC20-2F7E-12F39885052D}"/>
              </a:ext>
            </a:extLst>
          </p:cNvPr>
          <p:cNvSpPr txBox="1"/>
          <p:nvPr/>
        </p:nvSpPr>
        <p:spPr>
          <a:xfrm>
            <a:off x="4897016" y="4630950"/>
            <a:ext cx="357202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+mn-ea"/>
                <a:cs typeface="+mn-cs"/>
              </a:rPr>
              <a:t>CHALLENGE</a:t>
            </a:r>
            <a:endParaRPr kumimoji="0" lang="nl-BE" sz="44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uLnTx/>
              <a:uFillTx/>
              <a:latin typeface="+mj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0939789"/>
      </p:ext>
    </p:extLst>
  </p:cSld>
  <p:clrMapOvr>
    <a:masterClrMapping/>
  </p:clrMapOvr>
  <p:transition spd="slow" advTm="6579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04167E-6 1.48148E-6 L -0.0944 1.48148E-6 " pathEditMode="relative" rAng="0" ptsTypes="AA">
                                          <p:cBhvr>
                                            <p:cTn id="6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4727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2" presetClass="entr" presetSubtype="2" accel="14000" fill="hold" grpId="0" nodeType="withEffect" p14:presetBounceEnd="7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0000">
                                          <p:cBhvr additive="base">
                                            <p:cTn id="9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0000">
                                          <p:cBhvr additive="base">
                                            <p:cTn id="10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" fill="hold">
                          <p:stCondLst>
                            <p:cond delay="indefinite"/>
                          </p:stCondLst>
                          <p:childTnLst>
                            <p:par>
                              <p:cTn id="1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6" presetClass="emph" presetSubtype="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9" dur="30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2" accel="14000" fill="hold" grpId="0" nodeType="withEffect" p14:presetBounceEnd="7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0000">
                                          <p:cBhvr additive="base">
                                            <p:cTn id="22" dur="10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0000">
                                          <p:cBhvr additive="base">
                                            <p:cTn id="23" dur="10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6" presetClass="emph" presetSubtype="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32" dur="300" fill="hold"/>
                                            <p:tgtEl>
                                              <p:spTgt spid="57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3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6" presetClass="emph" presetSubtype="0" autoRev="1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9" dur="300" fill="hold"/>
                                            <p:tgtEl>
                                              <p:spTgt spid="45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6" presetClass="emph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44" dur="1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decel="10000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46" dur="75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25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0.01666 -0.00046 L 2.91667E-6 0 " pathEditMode="relative" rAng="0" ptsTypes="AA">
                                          <p:cBhvr>
                                            <p:cTn id="51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5" grpId="0" animBg="1"/>
          <p:bldP spid="45" grpId="1" animBg="1"/>
          <p:bldP spid="52" grpId="0"/>
          <p:bldP spid="56" grpId="0"/>
          <p:bldP spid="60" grpId="0"/>
          <p:bldP spid="60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04167E-6 1.48148E-6 L -0.0944 1.48148E-6 " pathEditMode="relative" rAng="0" ptsTypes="AA">
                                          <p:cBhvr>
                                            <p:cTn id="6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4727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2" presetClass="entr" presetSubtype="2" accel="14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" fill="hold">
                          <p:stCondLst>
                            <p:cond delay="indefinite"/>
                          </p:stCondLst>
                          <p:childTnLst>
                            <p:par>
                              <p:cTn id="1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6" presetClass="emph" presetSubtype="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9" dur="30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2" accel="1400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10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53" presetClass="entr" presetSubtype="16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6" presetClass="emph" presetSubtype="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32" dur="300" fill="hold"/>
                                            <p:tgtEl>
                                              <p:spTgt spid="57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3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6" presetClass="emph" presetSubtype="0" autoRev="1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9" dur="300" fill="hold"/>
                                            <p:tgtEl>
                                              <p:spTgt spid="45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6" presetClass="emph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44" dur="1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decel="10000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46" dur="75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25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0.01666 -0.00046 L 2.91667E-6 0 " pathEditMode="relative" rAng="0" ptsTypes="AA">
                                          <p:cBhvr>
                                            <p:cTn id="51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5" grpId="0" animBg="1"/>
          <p:bldP spid="45" grpId="1" animBg="1"/>
          <p:bldP spid="52" grpId="0"/>
          <p:bldP spid="56" grpId="0"/>
          <p:bldP spid="60" grpId="0"/>
          <p:bldP spid="60" grpId="1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B5AC8EC0-E1ED-E877-D02C-F0893841E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675048" y="-2667967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2FA0EC30-7D87-B2B1-8F46-ADCAAD72D459}"/>
              </a:ext>
            </a:extLst>
          </p:cNvPr>
          <p:cNvSpPr txBox="1"/>
          <p:nvPr/>
        </p:nvSpPr>
        <p:spPr>
          <a:xfrm>
            <a:off x="1033597" y="4629095"/>
            <a:ext cx="101248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6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keeping your apps installed and up to date</a:t>
            </a:r>
            <a:endParaRPr kumimoji="0" lang="nl-BE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38AFBCB2-61D9-571A-B74B-C43A4CC9994B}"/>
              </a:ext>
            </a:extLst>
          </p:cNvPr>
          <p:cNvSpPr/>
          <p:nvPr/>
        </p:nvSpPr>
        <p:spPr>
          <a:xfrm>
            <a:off x="2850039" y="3650392"/>
            <a:ext cx="6491924" cy="744388"/>
          </a:xfrm>
          <a:prstGeom prst="roundRect">
            <a:avLst>
              <a:gd name="adj" fmla="val 727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E85E8680-191D-1BE7-BFA3-38D9E70E490E}"/>
              </a:ext>
            </a:extLst>
          </p:cNvPr>
          <p:cNvSpPr/>
          <p:nvPr/>
        </p:nvSpPr>
        <p:spPr>
          <a:xfrm>
            <a:off x="5578631" y="1740936"/>
            <a:ext cx="616700" cy="408243"/>
          </a:xfrm>
          <a:custGeom>
            <a:avLst/>
            <a:gdLst>
              <a:gd name="connsiteX0" fmla="*/ 577951 w 586166"/>
              <a:gd name="connsiteY0" fmla="*/ 3931 h 388030"/>
              <a:gd name="connsiteX1" fmla="*/ 491698 w 586166"/>
              <a:gd name="connsiteY1" fmla="*/ 0 h 388030"/>
              <a:gd name="connsiteX2" fmla="*/ 205425 w 586166"/>
              <a:gd name="connsiteY2" fmla="*/ 62670 h 388030"/>
              <a:gd name="connsiteX3" fmla="*/ 13266 w 586166"/>
              <a:gd name="connsiteY3" fmla="*/ 184189 h 388030"/>
              <a:gd name="connsiteX4" fmla="*/ 1474 w 586166"/>
              <a:gd name="connsiteY4" fmla="*/ 235177 h 388030"/>
              <a:gd name="connsiteX5" fmla="*/ 36740 w 586166"/>
              <a:gd name="connsiteY5" fmla="*/ 388030 h 388030"/>
              <a:gd name="connsiteX6" fmla="*/ 323013 w 586166"/>
              <a:gd name="connsiteY6" fmla="*/ 258651 h 388030"/>
              <a:gd name="connsiteX7" fmla="*/ 581882 w 586166"/>
              <a:gd name="connsiteY7" fmla="*/ 19653 h 388030"/>
              <a:gd name="connsiteX8" fmla="*/ 577951 w 586166"/>
              <a:gd name="connsiteY8" fmla="*/ 3931 h 38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166" h="388030">
                <a:moveTo>
                  <a:pt x="577951" y="3931"/>
                </a:moveTo>
                <a:cubicBezTo>
                  <a:pt x="550547" y="0"/>
                  <a:pt x="519102" y="0"/>
                  <a:pt x="491698" y="0"/>
                </a:cubicBezTo>
                <a:cubicBezTo>
                  <a:pt x="389723" y="0"/>
                  <a:pt x="295608" y="19653"/>
                  <a:pt x="205425" y="62670"/>
                </a:cubicBezTo>
                <a:cubicBezTo>
                  <a:pt x="134893" y="90075"/>
                  <a:pt x="72114" y="133201"/>
                  <a:pt x="13266" y="184189"/>
                </a:cubicBezTo>
                <a:cubicBezTo>
                  <a:pt x="1474" y="199911"/>
                  <a:pt x="-2457" y="215524"/>
                  <a:pt x="1474" y="235177"/>
                </a:cubicBezTo>
                <a:lnTo>
                  <a:pt x="36740" y="388030"/>
                </a:lnTo>
                <a:lnTo>
                  <a:pt x="323013" y="258651"/>
                </a:lnTo>
                <a:lnTo>
                  <a:pt x="581882" y="19653"/>
                </a:lnTo>
                <a:cubicBezTo>
                  <a:pt x="589743" y="15722"/>
                  <a:pt x="585812" y="3931"/>
                  <a:pt x="577951" y="3931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C1193F16-9475-E2F0-959F-A967D36A6896}"/>
              </a:ext>
            </a:extLst>
          </p:cNvPr>
          <p:cNvSpPr/>
          <p:nvPr/>
        </p:nvSpPr>
        <p:spPr>
          <a:xfrm>
            <a:off x="6557944" y="2215228"/>
            <a:ext cx="276489" cy="705666"/>
          </a:xfrm>
          <a:custGeom>
            <a:avLst/>
            <a:gdLst>
              <a:gd name="connsiteX0" fmla="*/ 43127 w 262799"/>
              <a:gd name="connsiteY0" fmla="*/ 0 h 670727"/>
              <a:gd name="connsiteX1" fmla="*/ 0 w 262799"/>
              <a:gd name="connsiteY1" fmla="*/ 211703 h 670727"/>
              <a:gd name="connsiteX2" fmla="*/ 101975 w 262799"/>
              <a:gd name="connsiteY2" fmla="*/ 662512 h 670727"/>
              <a:gd name="connsiteX3" fmla="*/ 121628 w 262799"/>
              <a:gd name="connsiteY3" fmla="*/ 666443 h 670727"/>
              <a:gd name="connsiteX4" fmla="*/ 219673 w 262799"/>
              <a:gd name="connsiteY4" fmla="*/ 486075 h 670727"/>
              <a:gd name="connsiteX5" fmla="*/ 262799 w 262799"/>
              <a:gd name="connsiteY5" fmla="*/ 246968 h 670727"/>
              <a:gd name="connsiteX6" fmla="*/ 243256 w 262799"/>
              <a:gd name="connsiteY6" fmla="*/ 86253 h 670727"/>
              <a:gd name="connsiteX7" fmla="*/ 207990 w 262799"/>
              <a:gd name="connsiteY7" fmla="*/ 50988 h 670727"/>
              <a:gd name="connsiteX8" fmla="*/ 43345 w 262799"/>
              <a:gd name="connsiteY8" fmla="*/ 0 h 670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799" h="670727">
                <a:moveTo>
                  <a:pt x="43127" y="0"/>
                </a:moveTo>
                <a:cubicBezTo>
                  <a:pt x="35266" y="47057"/>
                  <a:pt x="19653" y="125449"/>
                  <a:pt x="0" y="211703"/>
                </a:cubicBezTo>
                <a:lnTo>
                  <a:pt x="101975" y="662512"/>
                </a:lnTo>
                <a:cubicBezTo>
                  <a:pt x="101975" y="670373"/>
                  <a:pt x="113767" y="674304"/>
                  <a:pt x="121628" y="666443"/>
                </a:cubicBezTo>
                <a:cubicBezTo>
                  <a:pt x="164755" y="611525"/>
                  <a:pt x="196090" y="548855"/>
                  <a:pt x="219673" y="486075"/>
                </a:cubicBezTo>
                <a:cubicBezTo>
                  <a:pt x="247077" y="407683"/>
                  <a:pt x="262799" y="329291"/>
                  <a:pt x="262799" y="246968"/>
                </a:cubicBezTo>
                <a:cubicBezTo>
                  <a:pt x="262799" y="192050"/>
                  <a:pt x="254938" y="141171"/>
                  <a:pt x="243256" y="86253"/>
                </a:cubicBezTo>
                <a:cubicBezTo>
                  <a:pt x="239325" y="70531"/>
                  <a:pt x="227534" y="54918"/>
                  <a:pt x="207990" y="50988"/>
                </a:cubicBezTo>
                <a:lnTo>
                  <a:pt x="43345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083BAB47-ED92-497E-6C84-AE43AD018746}"/>
              </a:ext>
            </a:extLst>
          </p:cNvPr>
          <p:cNvSpPr/>
          <p:nvPr/>
        </p:nvSpPr>
        <p:spPr>
          <a:xfrm>
            <a:off x="5996667" y="2565692"/>
            <a:ext cx="612049" cy="643494"/>
          </a:xfrm>
          <a:custGeom>
            <a:avLst/>
            <a:gdLst>
              <a:gd name="connsiteX0" fmla="*/ 498221 w 581745"/>
              <a:gd name="connsiteY0" fmla="*/ 109 h 611633"/>
              <a:gd name="connsiteX1" fmla="*/ 470817 w 581745"/>
              <a:gd name="connsiteY1" fmla="*/ 86362 h 611633"/>
              <a:gd name="connsiteX2" fmla="*/ 259114 w 581745"/>
              <a:gd name="connsiteY2" fmla="*/ 372527 h 611633"/>
              <a:gd name="connsiteX3" fmla="*/ 172861 w 581745"/>
              <a:gd name="connsiteY3" fmla="*/ 439127 h 611633"/>
              <a:gd name="connsiteX4" fmla="*/ 125804 w 581745"/>
              <a:gd name="connsiteY4" fmla="*/ 478323 h 611633"/>
              <a:gd name="connsiteX5" fmla="*/ 4285 w 581745"/>
              <a:gd name="connsiteY5" fmla="*/ 591981 h 611633"/>
              <a:gd name="connsiteX6" fmla="*/ 8215 w 581745"/>
              <a:gd name="connsiteY6" fmla="*/ 607703 h 611633"/>
              <a:gd name="connsiteX7" fmla="*/ 94469 w 581745"/>
              <a:gd name="connsiteY7" fmla="*/ 611634 h 611633"/>
              <a:gd name="connsiteX8" fmla="*/ 380742 w 581745"/>
              <a:gd name="connsiteY8" fmla="*/ 548855 h 611633"/>
              <a:gd name="connsiteX9" fmla="*/ 565040 w 581745"/>
              <a:gd name="connsiteY9" fmla="*/ 427336 h 611633"/>
              <a:gd name="connsiteX10" fmla="*/ 580762 w 581745"/>
              <a:gd name="connsiteY10" fmla="*/ 380279 h 611633"/>
              <a:gd name="connsiteX11" fmla="*/ 498439 w 581745"/>
              <a:gd name="connsiteY11" fmla="*/ 0 h 61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1745" h="611633">
                <a:moveTo>
                  <a:pt x="498221" y="109"/>
                </a:moveTo>
                <a:cubicBezTo>
                  <a:pt x="490360" y="31444"/>
                  <a:pt x="478568" y="58958"/>
                  <a:pt x="470817" y="86362"/>
                </a:cubicBezTo>
                <a:cubicBezTo>
                  <a:pt x="427690" y="196090"/>
                  <a:pt x="357159" y="290204"/>
                  <a:pt x="259114" y="372527"/>
                </a:cubicBezTo>
                <a:cubicBezTo>
                  <a:pt x="231710" y="396001"/>
                  <a:pt x="204196" y="415653"/>
                  <a:pt x="172861" y="439127"/>
                </a:cubicBezTo>
                <a:cubicBezTo>
                  <a:pt x="157139" y="450919"/>
                  <a:pt x="141526" y="462601"/>
                  <a:pt x="125804" y="478323"/>
                </a:cubicBezTo>
                <a:cubicBezTo>
                  <a:pt x="102330" y="501797"/>
                  <a:pt x="51342" y="548855"/>
                  <a:pt x="4285" y="591981"/>
                </a:cubicBezTo>
                <a:cubicBezTo>
                  <a:pt x="-3576" y="595912"/>
                  <a:pt x="354" y="607703"/>
                  <a:pt x="8215" y="607703"/>
                </a:cubicBezTo>
                <a:cubicBezTo>
                  <a:pt x="35620" y="611634"/>
                  <a:pt x="63134" y="611634"/>
                  <a:pt x="94469" y="611634"/>
                </a:cubicBezTo>
                <a:cubicBezTo>
                  <a:pt x="196444" y="611634"/>
                  <a:pt x="290558" y="591981"/>
                  <a:pt x="380742" y="548855"/>
                </a:cubicBezTo>
                <a:cubicBezTo>
                  <a:pt x="447343" y="517519"/>
                  <a:pt x="510122" y="478323"/>
                  <a:pt x="565040" y="427336"/>
                </a:cubicBezTo>
                <a:cubicBezTo>
                  <a:pt x="576832" y="415544"/>
                  <a:pt x="584583" y="396001"/>
                  <a:pt x="580762" y="380279"/>
                </a:cubicBezTo>
                <a:lnTo>
                  <a:pt x="498439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B5BFB23C-8C1A-F1D9-5A40-CF7984E8FC56}"/>
              </a:ext>
            </a:extLst>
          </p:cNvPr>
          <p:cNvSpPr/>
          <p:nvPr/>
        </p:nvSpPr>
        <p:spPr>
          <a:xfrm>
            <a:off x="5418381" y="2750336"/>
            <a:ext cx="640458" cy="427550"/>
          </a:xfrm>
          <a:custGeom>
            <a:avLst/>
            <a:gdLst>
              <a:gd name="connsiteX0" fmla="*/ 608749 w 608748"/>
              <a:gd name="connsiteY0" fmla="*/ 283279 h 406381"/>
              <a:gd name="connsiteX1" fmla="*/ 404907 w 608748"/>
              <a:gd name="connsiteY1" fmla="*/ 122564 h 406381"/>
              <a:gd name="connsiteX2" fmla="*/ 12837 w 608748"/>
              <a:gd name="connsiteY2" fmla="*/ 1045 h 406381"/>
              <a:gd name="connsiteX3" fmla="*/ 1045 w 608748"/>
              <a:gd name="connsiteY3" fmla="*/ 12837 h 406381"/>
              <a:gd name="connsiteX4" fmla="*/ 185343 w 608748"/>
              <a:gd name="connsiteY4" fmla="*/ 267666 h 406381"/>
              <a:gd name="connsiteX5" fmla="*/ 436242 w 608748"/>
              <a:gd name="connsiteY5" fmla="*/ 404907 h 406381"/>
              <a:gd name="connsiteX6" fmla="*/ 487230 w 608748"/>
              <a:gd name="connsiteY6" fmla="*/ 393116 h 406381"/>
              <a:gd name="connsiteX7" fmla="*/ 608749 w 608748"/>
              <a:gd name="connsiteY7" fmla="*/ 283388 h 40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8748" h="406381">
                <a:moveTo>
                  <a:pt x="608749" y="283279"/>
                </a:moveTo>
                <a:cubicBezTo>
                  <a:pt x="561691" y="259805"/>
                  <a:pt x="479369" y="208818"/>
                  <a:pt x="404907" y="122564"/>
                </a:cubicBezTo>
                <a:lnTo>
                  <a:pt x="12837" y="1045"/>
                </a:lnTo>
                <a:cubicBezTo>
                  <a:pt x="4976" y="-2885"/>
                  <a:pt x="-2885" y="4976"/>
                  <a:pt x="1045" y="12837"/>
                </a:cubicBezTo>
                <a:cubicBezTo>
                  <a:pt x="40242" y="110882"/>
                  <a:pt x="103021" y="197135"/>
                  <a:pt x="185343" y="267666"/>
                </a:cubicBezTo>
                <a:cubicBezTo>
                  <a:pt x="259805" y="330336"/>
                  <a:pt x="346058" y="377394"/>
                  <a:pt x="436242" y="404907"/>
                </a:cubicBezTo>
                <a:cubicBezTo>
                  <a:pt x="451964" y="408838"/>
                  <a:pt x="471508" y="404907"/>
                  <a:pt x="487230" y="393116"/>
                </a:cubicBezTo>
                <a:lnTo>
                  <a:pt x="608749" y="283388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4B6A295D-C0C8-1833-5CBC-66CABF08DC09}"/>
              </a:ext>
            </a:extLst>
          </p:cNvPr>
          <p:cNvSpPr/>
          <p:nvPr/>
        </p:nvSpPr>
        <p:spPr>
          <a:xfrm>
            <a:off x="5357567" y="2029343"/>
            <a:ext cx="420764" cy="763330"/>
          </a:xfrm>
          <a:custGeom>
            <a:avLst/>
            <a:gdLst>
              <a:gd name="connsiteX0" fmla="*/ 399931 w 399931"/>
              <a:gd name="connsiteY0" fmla="*/ 725537 h 725536"/>
              <a:gd name="connsiteX1" fmla="*/ 392070 w 399931"/>
              <a:gd name="connsiteY1" fmla="*/ 709815 h 725536"/>
              <a:gd name="connsiteX2" fmla="*/ 333221 w 399931"/>
              <a:gd name="connsiteY2" fmla="*/ 604018 h 725536"/>
              <a:gd name="connsiteX3" fmla="*/ 294025 w 399931"/>
              <a:gd name="connsiteY3" fmla="*/ 498221 h 725536"/>
              <a:gd name="connsiteX4" fmla="*/ 180367 w 399931"/>
              <a:gd name="connsiteY4" fmla="*/ 94469 h 725536"/>
              <a:gd name="connsiteX5" fmla="*/ 156894 w 399931"/>
              <a:gd name="connsiteY5" fmla="*/ 8215 h 725536"/>
              <a:gd name="connsiteX6" fmla="*/ 141171 w 399931"/>
              <a:gd name="connsiteY6" fmla="*/ 4285 h 725536"/>
              <a:gd name="connsiteX7" fmla="*/ 43127 w 399931"/>
              <a:gd name="connsiteY7" fmla="*/ 184653 h 725536"/>
              <a:gd name="connsiteX8" fmla="*/ 0 w 399931"/>
              <a:gd name="connsiteY8" fmla="*/ 423760 h 725536"/>
              <a:gd name="connsiteX9" fmla="*/ 19653 w 399931"/>
              <a:gd name="connsiteY9" fmla="*/ 580544 h 725536"/>
              <a:gd name="connsiteX10" fmla="*/ 54918 w 399931"/>
              <a:gd name="connsiteY10" fmla="*/ 615810 h 725536"/>
              <a:gd name="connsiteX11" fmla="*/ 399931 w 399931"/>
              <a:gd name="connsiteY11" fmla="*/ 725537 h 7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9931" h="725536">
                <a:moveTo>
                  <a:pt x="399931" y="725537"/>
                </a:moveTo>
                <a:cubicBezTo>
                  <a:pt x="396001" y="721606"/>
                  <a:pt x="392070" y="717676"/>
                  <a:pt x="392070" y="709815"/>
                </a:cubicBezTo>
                <a:cubicBezTo>
                  <a:pt x="364666" y="678480"/>
                  <a:pt x="348943" y="639284"/>
                  <a:pt x="333221" y="604018"/>
                </a:cubicBezTo>
                <a:cubicBezTo>
                  <a:pt x="321430" y="568752"/>
                  <a:pt x="305817" y="533487"/>
                  <a:pt x="294025" y="498221"/>
                </a:cubicBezTo>
                <a:cubicBezTo>
                  <a:pt x="254829" y="388494"/>
                  <a:pt x="215633" y="255184"/>
                  <a:pt x="180367" y="94469"/>
                </a:cubicBezTo>
                <a:cubicBezTo>
                  <a:pt x="168576" y="63134"/>
                  <a:pt x="164645" y="31799"/>
                  <a:pt x="156894" y="8215"/>
                </a:cubicBezTo>
                <a:cubicBezTo>
                  <a:pt x="156894" y="354"/>
                  <a:pt x="145102" y="-3576"/>
                  <a:pt x="141171" y="4285"/>
                </a:cubicBezTo>
                <a:cubicBezTo>
                  <a:pt x="98045" y="59203"/>
                  <a:pt x="66710" y="121873"/>
                  <a:pt x="43127" y="184653"/>
                </a:cubicBezTo>
                <a:cubicBezTo>
                  <a:pt x="15722" y="263045"/>
                  <a:pt x="0" y="341437"/>
                  <a:pt x="0" y="423760"/>
                </a:cubicBezTo>
                <a:cubicBezTo>
                  <a:pt x="0" y="474747"/>
                  <a:pt x="7861" y="529556"/>
                  <a:pt x="19653" y="580544"/>
                </a:cubicBezTo>
                <a:cubicBezTo>
                  <a:pt x="23583" y="596266"/>
                  <a:pt x="35375" y="611879"/>
                  <a:pt x="54918" y="615810"/>
                </a:cubicBezTo>
                <a:lnTo>
                  <a:pt x="399931" y="725537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8" name="Vrije vorm: vorm 17">
            <a:extLst>
              <a:ext uri="{FF2B5EF4-FFF2-40B4-BE49-F238E27FC236}">
                <a16:creationId xmlns:a16="http://schemas.microsoft.com/office/drawing/2014/main" id="{4F23E06F-FCAA-AE74-D786-C8723266057B}"/>
              </a:ext>
            </a:extLst>
          </p:cNvPr>
          <p:cNvSpPr/>
          <p:nvPr/>
        </p:nvSpPr>
        <p:spPr>
          <a:xfrm>
            <a:off x="6087787" y="1768217"/>
            <a:ext cx="685890" cy="431570"/>
          </a:xfrm>
          <a:custGeom>
            <a:avLst/>
            <a:gdLst>
              <a:gd name="connsiteX0" fmla="*/ 650830 w 651930"/>
              <a:gd name="connsiteY0" fmla="*/ 397475 h 410202"/>
              <a:gd name="connsiteX1" fmla="*/ 466532 w 651930"/>
              <a:gd name="connsiteY1" fmla="*/ 142645 h 410202"/>
              <a:gd name="connsiteX2" fmla="*/ 211703 w 651930"/>
              <a:gd name="connsiteY2" fmla="*/ 1474 h 410202"/>
              <a:gd name="connsiteX3" fmla="*/ 164645 w 651930"/>
              <a:gd name="connsiteY3" fmla="*/ 13266 h 410202"/>
              <a:gd name="connsiteX4" fmla="*/ 0 w 651930"/>
              <a:gd name="connsiteY4" fmla="*/ 166119 h 410202"/>
              <a:gd name="connsiteX5" fmla="*/ 35266 w 651930"/>
              <a:gd name="connsiteY5" fmla="*/ 150397 h 410202"/>
              <a:gd name="connsiteX6" fmla="*/ 458671 w 651930"/>
              <a:gd name="connsiteY6" fmla="*/ 350308 h 410202"/>
              <a:gd name="connsiteX7" fmla="*/ 646899 w 651930"/>
              <a:gd name="connsiteY7" fmla="*/ 409157 h 410202"/>
              <a:gd name="connsiteX8" fmla="*/ 650830 w 651930"/>
              <a:gd name="connsiteY8" fmla="*/ 397365 h 41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1930" h="410202">
                <a:moveTo>
                  <a:pt x="650830" y="397475"/>
                </a:moveTo>
                <a:cubicBezTo>
                  <a:pt x="611634" y="299430"/>
                  <a:pt x="544924" y="213177"/>
                  <a:pt x="466532" y="142645"/>
                </a:cubicBezTo>
                <a:cubicBezTo>
                  <a:pt x="392070" y="76045"/>
                  <a:pt x="305817" y="28988"/>
                  <a:pt x="211703" y="1474"/>
                </a:cubicBezTo>
                <a:cubicBezTo>
                  <a:pt x="195980" y="-2457"/>
                  <a:pt x="176437" y="1474"/>
                  <a:pt x="164645" y="13266"/>
                </a:cubicBezTo>
                <a:lnTo>
                  <a:pt x="0" y="166119"/>
                </a:lnTo>
                <a:lnTo>
                  <a:pt x="35266" y="150397"/>
                </a:lnTo>
                <a:lnTo>
                  <a:pt x="458671" y="350308"/>
                </a:lnTo>
                <a:lnTo>
                  <a:pt x="646899" y="409157"/>
                </a:lnTo>
                <a:cubicBezTo>
                  <a:pt x="646899" y="413088"/>
                  <a:pt x="654760" y="405227"/>
                  <a:pt x="650830" y="397365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1" name="Vrije vorm: vorm 10">
            <a:extLst>
              <a:ext uri="{FF2B5EF4-FFF2-40B4-BE49-F238E27FC236}">
                <a16:creationId xmlns:a16="http://schemas.microsoft.com/office/drawing/2014/main" id="{EA649AF9-8F23-F5BF-A08E-EF53BA727437}"/>
              </a:ext>
            </a:extLst>
          </p:cNvPr>
          <p:cNvSpPr/>
          <p:nvPr/>
        </p:nvSpPr>
        <p:spPr>
          <a:xfrm>
            <a:off x="5807277" y="2177249"/>
            <a:ext cx="590418" cy="609888"/>
          </a:xfrm>
          <a:custGeom>
            <a:avLst/>
            <a:gdLst>
              <a:gd name="connsiteX0" fmla="*/ 560646 w 561185"/>
              <a:gd name="connsiteY0" fmla="*/ 443783 h 579691"/>
              <a:gd name="connsiteX1" fmla="*/ 560646 w 561185"/>
              <a:gd name="connsiteY1" fmla="*/ 98770 h 579691"/>
              <a:gd name="connsiteX2" fmla="*/ 552785 w 561185"/>
              <a:gd name="connsiteY2" fmla="*/ 86978 h 579691"/>
              <a:gd name="connsiteX3" fmla="*/ 540993 w 561185"/>
              <a:gd name="connsiteY3" fmla="*/ 83048 h 579691"/>
              <a:gd name="connsiteX4" fmla="*/ 533132 w 561185"/>
              <a:gd name="connsiteY4" fmla="*/ 86978 h 579691"/>
              <a:gd name="connsiteX5" fmla="*/ 521341 w 561185"/>
              <a:gd name="connsiteY5" fmla="*/ 98770 h 579691"/>
              <a:gd name="connsiteX6" fmla="*/ 525271 w 561185"/>
              <a:gd name="connsiteY6" fmla="*/ 110561 h 579691"/>
              <a:gd name="connsiteX7" fmla="*/ 533132 w 561185"/>
              <a:gd name="connsiteY7" fmla="*/ 118422 h 579691"/>
              <a:gd name="connsiteX8" fmla="*/ 533132 w 561185"/>
              <a:gd name="connsiteY8" fmla="*/ 396726 h 579691"/>
              <a:gd name="connsiteX9" fmla="*/ 525271 w 561185"/>
              <a:gd name="connsiteY9" fmla="*/ 404587 h 579691"/>
              <a:gd name="connsiteX10" fmla="*/ 74352 w 561185"/>
              <a:gd name="connsiteY10" fmla="*/ 431991 h 579691"/>
              <a:gd name="connsiteX11" fmla="*/ 66491 w 561185"/>
              <a:gd name="connsiteY11" fmla="*/ 424130 h 579691"/>
              <a:gd name="connsiteX12" fmla="*/ 66491 w 561185"/>
              <a:gd name="connsiteY12" fmla="*/ 51713 h 579691"/>
              <a:gd name="connsiteX13" fmla="*/ 74352 w 561185"/>
              <a:gd name="connsiteY13" fmla="*/ 43852 h 579691"/>
              <a:gd name="connsiteX14" fmla="*/ 348834 w 561185"/>
              <a:gd name="connsiteY14" fmla="*/ 86978 h 579691"/>
              <a:gd name="connsiteX15" fmla="*/ 356695 w 561185"/>
              <a:gd name="connsiteY15" fmla="*/ 83048 h 579691"/>
              <a:gd name="connsiteX16" fmla="*/ 368487 w 561185"/>
              <a:gd name="connsiteY16" fmla="*/ 67326 h 579691"/>
              <a:gd name="connsiteX17" fmla="*/ 364556 w 561185"/>
              <a:gd name="connsiteY17" fmla="*/ 55534 h 579691"/>
              <a:gd name="connsiteX18" fmla="*/ 31335 w 561185"/>
              <a:gd name="connsiteY18" fmla="*/ 616 h 579691"/>
              <a:gd name="connsiteX19" fmla="*/ 0 w 561185"/>
              <a:gd name="connsiteY19" fmla="*/ 24090 h 579691"/>
              <a:gd name="connsiteX20" fmla="*/ 0 w 561185"/>
              <a:gd name="connsiteY20" fmla="*/ 498373 h 579691"/>
              <a:gd name="connsiteX21" fmla="*/ 19653 w 561185"/>
              <a:gd name="connsiteY21" fmla="*/ 514096 h 579691"/>
              <a:gd name="connsiteX22" fmla="*/ 254938 w 561185"/>
              <a:gd name="connsiteY22" fmla="*/ 494443 h 579691"/>
              <a:gd name="connsiteX23" fmla="*/ 262799 w 561185"/>
              <a:gd name="connsiteY23" fmla="*/ 502304 h 579691"/>
              <a:gd name="connsiteX24" fmla="*/ 258869 w 561185"/>
              <a:gd name="connsiteY24" fmla="*/ 529708 h 579691"/>
              <a:gd name="connsiteX25" fmla="*/ 251008 w 561185"/>
              <a:gd name="connsiteY25" fmla="*/ 537570 h 579691"/>
              <a:gd name="connsiteX26" fmla="*/ 188229 w 561185"/>
              <a:gd name="connsiteY26" fmla="*/ 564974 h 579691"/>
              <a:gd name="connsiteX27" fmla="*/ 333330 w 561185"/>
              <a:gd name="connsiteY27" fmla="*/ 572835 h 579691"/>
              <a:gd name="connsiteX28" fmla="*/ 439236 w 561185"/>
              <a:gd name="connsiteY28" fmla="*/ 541500 h 579691"/>
              <a:gd name="connsiteX29" fmla="*/ 372636 w 561185"/>
              <a:gd name="connsiteY29" fmla="*/ 525778 h 579691"/>
              <a:gd name="connsiteX30" fmla="*/ 364775 w 561185"/>
              <a:gd name="connsiteY30" fmla="*/ 517917 h 579691"/>
              <a:gd name="connsiteX31" fmla="*/ 364775 w 561185"/>
              <a:gd name="connsiteY31" fmla="*/ 494443 h 579691"/>
              <a:gd name="connsiteX32" fmla="*/ 372636 w 561185"/>
              <a:gd name="connsiteY32" fmla="*/ 486582 h 579691"/>
              <a:gd name="connsiteX33" fmla="*/ 545142 w 561185"/>
              <a:gd name="connsiteY33" fmla="*/ 470860 h 579691"/>
              <a:gd name="connsiteX34" fmla="*/ 560864 w 561185"/>
              <a:gd name="connsiteY34" fmla="*/ 443455 h 57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61185" h="579691">
                <a:moveTo>
                  <a:pt x="560646" y="443783"/>
                </a:moveTo>
                <a:lnTo>
                  <a:pt x="560646" y="98770"/>
                </a:lnTo>
                <a:cubicBezTo>
                  <a:pt x="560646" y="90909"/>
                  <a:pt x="556715" y="86978"/>
                  <a:pt x="552785" y="86978"/>
                </a:cubicBezTo>
                <a:lnTo>
                  <a:pt x="540993" y="83048"/>
                </a:lnTo>
                <a:cubicBezTo>
                  <a:pt x="538373" y="83048"/>
                  <a:pt x="535753" y="84358"/>
                  <a:pt x="533132" y="86978"/>
                </a:cubicBezTo>
                <a:cubicBezTo>
                  <a:pt x="529202" y="90909"/>
                  <a:pt x="525271" y="94839"/>
                  <a:pt x="521341" y="98770"/>
                </a:cubicBezTo>
                <a:cubicBezTo>
                  <a:pt x="517410" y="102700"/>
                  <a:pt x="521341" y="110561"/>
                  <a:pt x="525271" y="110561"/>
                </a:cubicBezTo>
                <a:cubicBezTo>
                  <a:pt x="529202" y="110561"/>
                  <a:pt x="533132" y="114492"/>
                  <a:pt x="533132" y="118422"/>
                </a:cubicBezTo>
                <a:lnTo>
                  <a:pt x="533132" y="396726"/>
                </a:lnTo>
                <a:cubicBezTo>
                  <a:pt x="533132" y="400656"/>
                  <a:pt x="529202" y="404587"/>
                  <a:pt x="525271" y="404587"/>
                </a:cubicBezTo>
                <a:lnTo>
                  <a:pt x="74352" y="431991"/>
                </a:lnTo>
                <a:cubicBezTo>
                  <a:pt x="70422" y="431991"/>
                  <a:pt x="66491" y="428061"/>
                  <a:pt x="66491" y="424130"/>
                </a:cubicBezTo>
                <a:lnTo>
                  <a:pt x="66491" y="51713"/>
                </a:lnTo>
                <a:cubicBezTo>
                  <a:pt x="66491" y="47782"/>
                  <a:pt x="70422" y="43852"/>
                  <a:pt x="74352" y="43852"/>
                </a:cubicBezTo>
                <a:lnTo>
                  <a:pt x="348834" y="86978"/>
                </a:lnTo>
                <a:cubicBezTo>
                  <a:pt x="352765" y="86978"/>
                  <a:pt x="356695" y="86978"/>
                  <a:pt x="356695" y="83048"/>
                </a:cubicBezTo>
                <a:cubicBezTo>
                  <a:pt x="360626" y="79117"/>
                  <a:pt x="364556" y="71256"/>
                  <a:pt x="368487" y="67326"/>
                </a:cubicBezTo>
                <a:cubicBezTo>
                  <a:pt x="372417" y="63395"/>
                  <a:pt x="368487" y="55534"/>
                  <a:pt x="364556" y="55534"/>
                </a:cubicBezTo>
                <a:lnTo>
                  <a:pt x="31335" y="616"/>
                </a:lnTo>
                <a:cubicBezTo>
                  <a:pt x="15613" y="-3315"/>
                  <a:pt x="0" y="12407"/>
                  <a:pt x="0" y="24090"/>
                </a:cubicBezTo>
                <a:lnTo>
                  <a:pt x="0" y="498373"/>
                </a:lnTo>
                <a:cubicBezTo>
                  <a:pt x="0" y="506234"/>
                  <a:pt x="7861" y="514096"/>
                  <a:pt x="19653" y="514096"/>
                </a:cubicBezTo>
                <a:cubicBezTo>
                  <a:pt x="19653" y="514096"/>
                  <a:pt x="129489" y="502304"/>
                  <a:pt x="254938" y="494443"/>
                </a:cubicBezTo>
                <a:cubicBezTo>
                  <a:pt x="258869" y="494443"/>
                  <a:pt x="262799" y="498373"/>
                  <a:pt x="262799" y="502304"/>
                </a:cubicBezTo>
                <a:lnTo>
                  <a:pt x="258869" y="529708"/>
                </a:lnTo>
                <a:cubicBezTo>
                  <a:pt x="258869" y="533639"/>
                  <a:pt x="254938" y="537570"/>
                  <a:pt x="251008" y="537570"/>
                </a:cubicBezTo>
                <a:cubicBezTo>
                  <a:pt x="215742" y="545431"/>
                  <a:pt x="188229" y="553292"/>
                  <a:pt x="188229" y="564974"/>
                </a:cubicBezTo>
                <a:cubicBezTo>
                  <a:pt x="188229" y="580696"/>
                  <a:pt x="258760" y="584627"/>
                  <a:pt x="333330" y="572835"/>
                </a:cubicBezTo>
                <a:cubicBezTo>
                  <a:pt x="396110" y="564974"/>
                  <a:pt x="439236" y="549361"/>
                  <a:pt x="439236" y="541500"/>
                </a:cubicBezTo>
                <a:cubicBezTo>
                  <a:pt x="439236" y="533639"/>
                  <a:pt x="411832" y="525778"/>
                  <a:pt x="372636" y="525778"/>
                </a:cubicBezTo>
                <a:cubicBezTo>
                  <a:pt x="368705" y="525778"/>
                  <a:pt x="364775" y="521847"/>
                  <a:pt x="364775" y="517917"/>
                </a:cubicBezTo>
                <a:lnTo>
                  <a:pt x="364775" y="494443"/>
                </a:lnTo>
                <a:cubicBezTo>
                  <a:pt x="364775" y="490512"/>
                  <a:pt x="368705" y="486582"/>
                  <a:pt x="372636" y="486582"/>
                </a:cubicBezTo>
                <a:cubicBezTo>
                  <a:pt x="462819" y="478721"/>
                  <a:pt x="541212" y="470860"/>
                  <a:pt x="545142" y="470860"/>
                </a:cubicBezTo>
                <a:cubicBezTo>
                  <a:pt x="564795" y="462999"/>
                  <a:pt x="560864" y="443455"/>
                  <a:pt x="560864" y="443455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E5F8C1BF-F58C-7DDE-3C65-9EC070196DF2}"/>
              </a:ext>
            </a:extLst>
          </p:cNvPr>
          <p:cNvSpPr/>
          <p:nvPr/>
        </p:nvSpPr>
        <p:spPr>
          <a:xfrm>
            <a:off x="5957870" y="2112996"/>
            <a:ext cx="454650" cy="450400"/>
          </a:xfrm>
          <a:custGeom>
            <a:avLst/>
            <a:gdLst>
              <a:gd name="connsiteX0" fmla="*/ 354730 w 432139"/>
              <a:gd name="connsiteY0" fmla="*/ 3057 h 428100"/>
              <a:gd name="connsiteX1" fmla="*/ 158640 w 432139"/>
              <a:gd name="connsiteY1" fmla="*/ 289221 h 428100"/>
              <a:gd name="connsiteX2" fmla="*/ 150779 w 432139"/>
              <a:gd name="connsiteY2" fmla="*/ 289221 h 428100"/>
              <a:gd name="connsiteX3" fmla="*/ 64526 w 432139"/>
              <a:gd name="connsiteY3" fmla="*/ 199038 h 428100"/>
              <a:gd name="connsiteX4" fmla="*/ 56665 w 432139"/>
              <a:gd name="connsiteY4" fmla="*/ 199038 h 428100"/>
              <a:gd name="connsiteX5" fmla="*/ 1747 w 432139"/>
              <a:gd name="connsiteY5" fmla="*/ 265638 h 428100"/>
              <a:gd name="connsiteX6" fmla="*/ 1747 w 432139"/>
              <a:gd name="connsiteY6" fmla="*/ 273499 h 428100"/>
              <a:gd name="connsiteX7" fmla="*/ 182114 w 432139"/>
              <a:gd name="connsiteY7" fmla="*/ 426353 h 428100"/>
              <a:gd name="connsiteX8" fmla="*/ 189975 w 432139"/>
              <a:gd name="connsiteY8" fmla="*/ 426353 h 428100"/>
              <a:gd name="connsiteX9" fmla="*/ 429192 w 432139"/>
              <a:gd name="connsiteY9" fmla="*/ 81340 h 428100"/>
              <a:gd name="connsiteX10" fmla="*/ 429192 w 432139"/>
              <a:gd name="connsiteY10" fmla="*/ 73479 h 428100"/>
              <a:gd name="connsiteX11" fmla="*/ 366412 w 432139"/>
              <a:gd name="connsiteY11" fmla="*/ 2948 h 428100"/>
              <a:gd name="connsiteX12" fmla="*/ 354621 w 432139"/>
              <a:gd name="connsiteY12" fmla="*/ 2948 h 4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139" h="428100">
                <a:moveTo>
                  <a:pt x="354730" y="3057"/>
                </a:moveTo>
                <a:cubicBezTo>
                  <a:pt x="260616" y="85380"/>
                  <a:pt x="197946" y="206899"/>
                  <a:pt x="158640" y="289221"/>
                </a:cubicBezTo>
                <a:cubicBezTo>
                  <a:pt x="158640" y="293152"/>
                  <a:pt x="150779" y="293152"/>
                  <a:pt x="150779" y="289221"/>
                </a:cubicBezTo>
                <a:cubicBezTo>
                  <a:pt x="135057" y="269569"/>
                  <a:pt x="80248" y="214760"/>
                  <a:pt x="64526" y="199038"/>
                </a:cubicBezTo>
                <a:cubicBezTo>
                  <a:pt x="60596" y="195107"/>
                  <a:pt x="56665" y="195107"/>
                  <a:pt x="56665" y="199038"/>
                </a:cubicBezTo>
                <a:cubicBezTo>
                  <a:pt x="44874" y="214760"/>
                  <a:pt x="17469" y="250025"/>
                  <a:pt x="1747" y="265638"/>
                </a:cubicBezTo>
                <a:cubicBezTo>
                  <a:pt x="-2184" y="269569"/>
                  <a:pt x="1747" y="273499"/>
                  <a:pt x="1747" y="273499"/>
                </a:cubicBezTo>
                <a:cubicBezTo>
                  <a:pt x="40943" y="304834"/>
                  <a:pt x="142918" y="391088"/>
                  <a:pt x="182114" y="426353"/>
                </a:cubicBezTo>
                <a:cubicBezTo>
                  <a:pt x="186045" y="430284"/>
                  <a:pt x="189975" y="426353"/>
                  <a:pt x="189975" y="426353"/>
                </a:cubicBezTo>
                <a:cubicBezTo>
                  <a:pt x="264437" y="249916"/>
                  <a:pt x="339008" y="151980"/>
                  <a:pt x="429192" y="81340"/>
                </a:cubicBezTo>
                <a:cubicBezTo>
                  <a:pt x="433122" y="81340"/>
                  <a:pt x="433122" y="77410"/>
                  <a:pt x="429192" y="73479"/>
                </a:cubicBezTo>
                <a:lnTo>
                  <a:pt x="366412" y="2948"/>
                </a:lnTo>
                <a:cubicBezTo>
                  <a:pt x="358551" y="-983"/>
                  <a:pt x="354621" y="-983"/>
                  <a:pt x="354621" y="2948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1CD21386-D19F-6AEE-D001-ECA702701AB4}"/>
              </a:ext>
            </a:extLst>
          </p:cNvPr>
          <p:cNvSpPr txBox="1"/>
          <p:nvPr/>
        </p:nvSpPr>
        <p:spPr>
          <a:xfrm>
            <a:off x="2850037" y="3698518"/>
            <a:ext cx="6491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BBC9B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utomation and Security</a:t>
            </a:r>
            <a:endParaRPr kumimoji="0" lang="nl-BE" sz="3600" b="0" i="0" u="none" strike="noStrike" kern="1200" cap="none" spc="0" normalizeH="0" baseline="0" noProof="0">
              <a:ln>
                <a:noFill/>
              </a:ln>
              <a:solidFill>
                <a:srgbClr val="1BBC9B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4" name="Tekstvak 51">
            <a:extLst>
              <a:ext uri="{FF2B5EF4-FFF2-40B4-BE49-F238E27FC236}">
                <a16:creationId xmlns:a16="http://schemas.microsoft.com/office/drawing/2014/main" id="{79DEC669-8CA2-33B4-BDAC-11F68623E5B0}"/>
              </a:ext>
            </a:extLst>
          </p:cNvPr>
          <p:cNvSpPr txBox="1"/>
          <p:nvPr/>
        </p:nvSpPr>
        <p:spPr>
          <a:xfrm>
            <a:off x="1530486" y="530484"/>
            <a:ext cx="9144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How </a:t>
            </a:r>
            <a:r>
              <a:rPr lang="en-US" sz="44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latin typeface="+mj-lt"/>
              </a:rPr>
              <a:t>we </a:t>
            </a: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+mj-lt"/>
                <a:ea typeface="+mn-ea"/>
                <a:cs typeface="+mn-cs"/>
              </a:rPr>
              <a:t>help</a:t>
            </a:r>
            <a:endParaRPr kumimoji="0" lang="nl-BE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78989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decel="100000" fill="hold" grpId="0" nodeType="withEffect">
                                      <p:stCondLst>
                                        <p:cond delay="500"/>
                                      </p:stCondLst>
                                      <p:iterate type="lt">
                                        <p:tmPct val="0"/>
                                      </p:iterate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" dur="7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14000" fill="hold" grpId="0" nodeType="withEffect" p14:presetBounceEnd="7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0000">
                                          <p:cBhvr additive="base">
                                            <p:cTn id="1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0000">
                                          <p:cBhvr additive="base">
                                            <p:cTn id="1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04167E-6 1.48148E-6 L -0.0944 1.48148E-6 " pathEditMode="relative" rAng="0" ptsTypes="AA">
                                          <p:cBhvr>
                                            <p:cTn id="20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4727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 animBg="1"/>
          <p:bldP spid="8" grpId="0"/>
          <p:bldP spid="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decel="100000" fill="hold" grpId="0" nodeType="withEffect">
                                      <p:stCondLst>
                                        <p:cond delay="500"/>
                                      </p:stCondLst>
                                      <p:iterate type="lt">
                                        <p:tmPct val="0"/>
                                      </p:iterate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1" dur="7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14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04167E-6 1.48148E-6 L -0.0944 1.48148E-6 " pathEditMode="relative" rAng="0" ptsTypes="AA">
                                          <p:cBhvr>
                                            <p:cTn id="20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4727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 animBg="1"/>
          <p:bldP spid="8" grpId="0"/>
          <p:bldP spid="4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64F18313-05C4-A5B5-0FF0-B1E6A40510E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666032" y="-2667968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531177-1792-F759-8CE9-785C310A71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6072" y="1212849"/>
            <a:ext cx="5496230" cy="40325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10000" dist="5000" dir="5400000" sy="-100000" algn="bl" rotWithShape="0"/>
          </a:effec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1976F4E-35BF-B10E-2BE1-064DF7615B1C}"/>
              </a:ext>
            </a:extLst>
          </p:cNvPr>
          <p:cNvGrpSpPr/>
          <p:nvPr/>
        </p:nvGrpSpPr>
        <p:grpSpPr>
          <a:xfrm>
            <a:off x="659656" y="528139"/>
            <a:ext cx="1476866" cy="1468250"/>
            <a:chOff x="5088585" y="2125932"/>
            <a:chExt cx="1476866" cy="1468250"/>
          </a:xfrm>
        </p:grpSpPr>
        <p:sp>
          <p:nvSpPr>
            <p:cNvPr id="12" name="Vrije vorm: vorm 12">
              <a:extLst>
                <a:ext uri="{FF2B5EF4-FFF2-40B4-BE49-F238E27FC236}">
                  <a16:creationId xmlns:a16="http://schemas.microsoft.com/office/drawing/2014/main" id="{9FA51BD9-35CA-4639-FD28-130F133F6B7B}"/>
                </a:ext>
              </a:extLst>
            </p:cNvPr>
            <p:cNvSpPr/>
            <p:nvPr/>
          </p:nvSpPr>
          <p:spPr>
            <a:xfrm>
              <a:off x="5309649" y="2125932"/>
              <a:ext cx="616700" cy="408243"/>
            </a:xfrm>
            <a:custGeom>
              <a:avLst/>
              <a:gdLst>
                <a:gd name="connsiteX0" fmla="*/ 577951 w 586166"/>
                <a:gd name="connsiteY0" fmla="*/ 3931 h 388030"/>
                <a:gd name="connsiteX1" fmla="*/ 491698 w 586166"/>
                <a:gd name="connsiteY1" fmla="*/ 0 h 388030"/>
                <a:gd name="connsiteX2" fmla="*/ 205425 w 586166"/>
                <a:gd name="connsiteY2" fmla="*/ 62670 h 388030"/>
                <a:gd name="connsiteX3" fmla="*/ 13266 w 586166"/>
                <a:gd name="connsiteY3" fmla="*/ 184189 h 388030"/>
                <a:gd name="connsiteX4" fmla="*/ 1474 w 586166"/>
                <a:gd name="connsiteY4" fmla="*/ 235177 h 388030"/>
                <a:gd name="connsiteX5" fmla="*/ 36740 w 586166"/>
                <a:gd name="connsiteY5" fmla="*/ 388030 h 388030"/>
                <a:gd name="connsiteX6" fmla="*/ 323013 w 586166"/>
                <a:gd name="connsiteY6" fmla="*/ 258651 h 388030"/>
                <a:gd name="connsiteX7" fmla="*/ 581882 w 586166"/>
                <a:gd name="connsiteY7" fmla="*/ 19653 h 388030"/>
                <a:gd name="connsiteX8" fmla="*/ 577951 w 586166"/>
                <a:gd name="connsiteY8" fmla="*/ 3931 h 38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6166" h="388030">
                  <a:moveTo>
                    <a:pt x="577951" y="3931"/>
                  </a:moveTo>
                  <a:cubicBezTo>
                    <a:pt x="550547" y="0"/>
                    <a:pt x="519102" y="0"/>
                    <a:pt x="491698" y="0"/>
                  </a:cubicBezTo>
                  <a:cubicBezTo>
                    <a:pt x="389723" y="0"/>
                    <a:pt x="295608" y="19653"/>
                    <a:pt x="205425" y="62670"/>
                  </a:cubicBezTo>
                  <a:cubicBezTo>
                    <a:pt x="134893" y="90075"/>
                    <a:pt x="72114" y="133201"/>
                    <a:pt x="13266" y="184189"/>
                  </a:cubicBezTo>
                  <a:cubicBezTo>
                    <a:pt x="1474" y="199911"/>
                    <a:pt x="-2457" y="215524"/>
                    <a:pt x="1474" y="235177"/>
                  </a:cubicBezTo>
                  <a:lnTo>
                    <a:pt x="36740" y="388030"/>
                  </a:lnTo>
                  <a:lnTo>
                    <a:pt x="323013" y="258651"/>
                  </a:lnTo>
                  <a:lnTo>
                    <a:pt x="581882" y="19653"/>
                  </a:lnTo>
                  <a:cubicBezTo>
                    <a:pt x="589743" y="15722"/>
                    <a:pt x="585812" y="3931"/>
                    <a:pt x="577951" y="3931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3" name="Vrije vorm: vorm 13">
              <a:extLst>
                <a:ext uri="{FF2B5EF4-FFF2-40B4-BE49-F238E27FC236}">
                  <a16:creationId xmlns:a16="http://schemas.microsoft.com/office/drawing/2014/main" id="{906AEE4D-18DB-1BF2-2338-36C2396665F6}"/>
                </a:ext>
              </a:extLst>
            </p:cNvPr>
            <p:cNvSpPr/>
            <p:nvPr/>
          </p:nvSpPr>
          <p:spPr>
            <a:xfrm>
              <a:off x="6288962" y="2600224"/>
              <a:ext cx="276489" cy="705666"/>
            </a:xfrm>
            <a:custGeom>
              <a:avLst/>
              <a:gdLst>
                <a:gd name="connsiteX0" fmla="*/ 43127 w 262799"/>
                <a:gd name="connsiteY0" fmla="*/ 0 h 670727"/>
                <a:gd name="connsiteX1" fmla="*/ 0 w 262799"/>
                <a:gd name="connsiteY1" fmla="*/ 211703 h 670727"/>
                <a:gd name="connsiteX2" fmla="*/ 101975 w 262799"/>
                <a:gd name="connsiteY2" fmla="*/ 662512 h 670727"/>
                <a:gd name="connsiteX3" fmla="*/ 121628 w 262799"/>
                <a:gd name="connsiteY3" fmla="*/ 666443 h 670727"/>
                <a:gd name="connsiteX4" fmla="*/ 219673 w 262799"/>
                <a:gd name="connsiteY4" fmla="*/ 486075 h 670727"/>
                <a:gd name="connsiteX5" fmla="*/ 262799 w 262799"/>
                <a:gd name="connsiteY5" fmla="*/ 246968 h 670727"/>
                <a:gd name="connsiteX6" fmla="*/ 243256 w 262799"/>
                <a:gd name="connsiteY6" fmla="*/ 86253 h 670727"/>
                <a:gd name="connsiteX7" fmla="*/ 207990 w 262799"/>
                <a:gd name="connsiteY7" fmla="*/ 50988 h 670727"/>
                <a:gd name="connsiteX8" fmla="*/ 43345 w 262799"/>
                <a:gd name="connsiteY8" fmla="*/ 0 h 6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799" h="670727">
                  <a:moveTo>
                    <a:pt x="43127" y="0"/>
                  </a:moveTo>
                  <a:cubicBezTo>
                    <a:pt x="35266" y="47057"/>
                    <a:pt x="19653" y="125449"/>
                    <a:pt x="0" y="211703"/>
                  </a:cubicBezTo>
                  <a:lnTo>
                    <a:pt x="101975" y="662512"/>
                  </a:lnTo>
                  <a:cubicBezTo>
                    <a:pt x="101975" y="670373"/>
                    <a:pt x="113767" y="674304"/>
                    <a:pt x="121628" y="666443"/>
                  </a:cubicBezTo>
                  <a:cubicBezTo>
                    <a:pt x="164755" y="611525"/>
                    <a:pt x="196090" y="548855"/>
                    <a:pt x="219673" y="486075"/>
                  </a:cubicBezTo>
                  <a:cubicBezTo>
                    <a:pt x="247077" y="407683"/>
                    <a:pt x="262799" y="329291"/>
                    <a:pt x="262799" y="246968"/>
                  </a:cubicBezTo>
                  <a:cubicBezTo>
                    <a:pt x="262799" y="192050"/>
                    <a:pt x="254938" y="141171"/>
                    <a:pt x="243256" y="86253"/>
                  </a:cubicBezTo>
                  <a:cubicBezTo>
                    <a:pt x="239325" y="70531"/>
                    <a:pt x="227534" y="54918"/>
                    <a:pt x="207990" y="50988"/>
                  </a:cubicBezTo>
                  <a:lnTo>
                    <a:pt x="43345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4" name="Vrije vorm: vorm 14">
              <a:extLst>
                <a:ext uri="{FF2B5EF4-FFF2-40B4-BE49-F238E27FC236}">
                  <a16:creationId xmlns:a16="http://schemas.microsoft.com/office/drawing/2014/main" id="{478DD04A-71BA-83A9-BE37-0A60128947C1}"/>
                </a:ext>
              </a:extLst>
            </p:cNvPr>
            <p:cNvSpPr/>
            <p:nvPr/>
          </p:nvSpPr>
          <p:spPr>
            <a:xfrm>
              <a:off x="5727685" y="2950688"/>
              <a:ext cx="612049" cy="643494"/>
            </a:xfrm>
            <a:custGeom>
              <a:avLst/>
              <a:gdLst>
                <a:gd name="connsiteX0" fmla="*/ 498221 w 581745"/>
                <a:gd name="connsiteY0" fmla="*/ 109 h 611633"/>
                <a:gd name="connsiteX1" fmla="*/ 470817 w 581745"/>
                <a:gd name="connsiteY1" fmla="*/ 86362 h 611633"/>
                <a:gd name="connsiteX2" fmla="*/ 259114 w 581745"/>
                <a:gd name="connsiteY2" fmla="*/ 372527 h 611633"/>
                <a:gd name="connsiteX3" fmla="*/ 172861 w 581745"/>
                <a:gd name="connsiteY3" fmla="*/ 439127 h 611633"/>
                <a:gd name="connsiteX4" fmla="*/ 125804 w 581745"/>
                <a:gd name="connsiteY4" fmla="*/ 478323 h 611633"/>
                <a:gd name="connsiteX5" fmla="*/ 4285 w 581745"/>
                <a:gd name="connsiteY5" fmla="*/ 591981 h 611633"/>
                <a:gd name="connsiteX6" fmla="*/ 8215 w 581745"/>
                <a:gd name="connsiteY6" fmla="*/ 607703 h 611633"/>
                <a:gd name="connsiteX7" fmla="*/ 94469 w 581745"/>
                <a:gd name="connsiteY7" fmla="*/ 611634 h 611633"/>
                <a:gd name="connsiteX8" fmla="*/ 380742 w 581745"/>
                <a:gd name="connsiteY8" fmla="*/ 548855 h 611633"/>
                <a:gd name="connsiteX9" fmla="*/ 565040 w 581745"/>
                <a:gd name="connsiteY9" fmla="*/ 427336 h 611633"/>
                <a:gd name="connsiteX10" fmla="*/ 580762 w 581745"/>
                <a:gd name="connsiteY10" fmla="*/ 380279 h 611633"/>
                <a:gd name="connsiteX11" fmla="*/ 498439 w 581745"/>
                <a:gd name="connsiteY11" fmla="*/ 0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745" h="611633">
                  <a:moveTo>
                    <a:pt x="498221" y="109"/>
                  </a:moveTo>
                  <a:cubicBezTo>
                    <a:pt x="490360" y="31444"/>
                    <a:pt x="478568" y="58958"/>
                    <a:pt x="470817" y="86362"/>
                  </a:cubicBezTo>
                  <a:cubicBezTo>
                    <a:pt x="427690" y="196090"/>
                    <a:pt x="357159" y="290204"/>
                    <a:pt x="259114" y="372527"/>
                  </a:cubicBezTo>
                  <a:cubicBezTo>
                    <a:pt x="231710" y="396001"/>
                    <a:pt x="204196" y="415653"/>
                    <a:pt x="172861" y="439127"/>
                  </a:cubicBezTo>
                  <a:cubicBezTo>
                    <a:pt x="157139" y="450919"/>
                    <a:pt x="141526" y="462601"/>
                    <a:pt x="125804" y="478323"/>
                  </a:cubicBezTo>
                  <a:cubicBezTo>
                    <a:pt x="102330" y="501797"/>
                    <a:pt x="51342" y="548855"/>
                    <a:pt x="4285" y="591981"/>
                  </a:cubicBezTo>
                  <a:cubicBezTo>
                    <a:pt x="-3576" y="595912"/>
                    <a:pt x="354" y="607703"/>
                    <a:pt x="8215" y="607703"/>
                  </a:cubicBezTo>
                  <a:cubicBezTo>
                    <a:pt x="35620" y="611634"/>
                    <a:pt x="63134" y="611634"/>
                    <a:pt x="94469" y="611634"/>
                  </a:cubicBezTo>
                  <a:cubicBezTo>
                    <a:pt x="196444" y="611634"/>
                    <a:pt x="290558" y="591981"/>
                    <a:pt x="380742" y="548855"/>
                  </a:cubicBezTo>
                  <a:cubicBezTo>
                    <a:pt x="447343" y="517519"/>
                    <a:pt x="510122" y="478323"/>
                    <a:pt x="565040" y="427336"/>
                  </a:cubicBezTo>
                  <a:cubicBezTo>
                    <a:pt x="576832" y="415544"/>
                    <a:pt x="584583" y="396001"/>
                    <a:pt x="580762" y="380279"/>
                  </a:cubicBezTo>
                  <a:lnTo>
                    <a:pt x="498439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5" name="Vrije vorm: vorm 15">
              <a:extLst>
                <a:ext uri="{FF2B5EF4-FFF2-40B4-BE49-F238E27FC236}">
                  <a16:creationId xmlns:a16="http://schemas.microsoft.com/office/drawing/2014/main" id="{84887AED-CE08-4009-6A9D-15F4030B1BE7}"/>
                </a:ext>
              </a:extLst>
            </p:cNvPr>
            <p:cNvSpPr/>
            <p:nvPr/>
          </p:nvSpPr>
          <p:spPr>
            <a:xfrm>
              <a:off x="5149399" y="3135332"/>
              <a:ext cx="640458" cy="427550"/>
            </a:xfrm>
            <a:custGeom>
              <a:avLst/>
              <a:gdLst>
                <a:gd name="connsiteX0" fmla="*/ 608749 w 608748"/>
                <a:gd name="connsiteY0" fmla="*/ 283279 h 406381"/>
                <a:gd name="connsiteX1" fmla="*/ 404907 w 608748"/>
                <a:gd name="connsiteY1" fmla="*/ 122564 h 406381"/>
                <a:gd name="connsiteX2" fmla="*/ 12837 w 608748"/>
                <a:gd name="connsiteY2" fmla="*/ 1045 h 406381"/>
                <a:gd name="connsiteX3" fmla="*/ 1045 w 608748"/>
                <a:gd name="connsiteY3" fmla="*/ 12837 h 406381"/>
                <a:gd name="connsiteX4" fmla="*/ 185343 w 608748"/>
                <a:gd name="connsiteY4" fmla="*/ 267666 h 406381"/>
                <a:gd name="connsiteX5" fmla="*/ 436242 w 608748"/>
                <a:gd name="connsiteY5" fmla="*/ 404907 h 406381"/>
                <a:gd name="connsiteX6" fmla="*/ 487230 w 608748"/>
                <a:gd name="connsiteY6" fmla="*/ 393116 h 406381"/>
                <a:gd name="connsiteX7" fmla="*/ 608749 w 608748"/>
                <a:gd name="connsiteY7" fmla="*/ 283388 h 40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8748" h="406381">
                  <a:moveTo>
                    <a:pt x="608749" y="283279"/>
                  </a:moveTo>
                  <a:cubicBezTo>
                    <a:pt x="561691" y="259805"/>
                    <a:pt x="479369" y="208818"/>
                    <a:pt x="404907" y="122564"/>
                  </a:cubicBezTo>
                  <a:lnTo>
                    <a:pt x="12837" y="1045"/>
                  </a:lnTo>
                  <a:cubicBezTo>
                    <a:pt x="4976" y="-2885"/>
                    <a:pt x="-2885" y="4976"/>
                    <a:pt x="1045" y="12837"/>
                  </a:cubicBezTo>
                  <a:cubicBezTo>
                    <a:pt x="40242" y="110882"/>
                    <a:pt x="103021" y="197135"/>
                    <a:pt x="185343" y="267666"/>
                  </a:cubicBezTo>
                  <a:cubicBezTo>
                    <a:pt x="259805" y="330336"/>
                    <a:pt x="346058" y="377394"/>
                    <a:pt x="436242" y="404907"/>
                  </a:cubicBezTo>
                  <a:cubicBezTo>
                    <a:pt x="451964" y="408838"/>
                    <a:pt x="471508" y="404907"/>
                    <a:pt x="487230" y="393116"/>
                  </a:cubicBezTo>
                  <a:lnTo>
                    <a:pt x="608749" y="283388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6" name="Vrije vorm: vorm 16">
              <a:extLst>
                <a:ext uri="{FF2B5EF4-FFF2-40B4-BE49-F238E27FC236}">
                  <a16:creationId xmlns:a16="http://schemas.microsoft.com/office/drawing/2014/main" id="{70953F93-5745-22B6-AEF0-38F66D312030}"/>
                </a:ext>
              </a:extLst>
            </p:cNvPr>
            <p:cNvSpPr/>
            <p:nvPr/>
          </p:nvSpPr>
          <p:spPr>
            <a:xfrm>
              <a:off x="5088585" y="2414339"/>
              <a:ext cx="420764" cy="763330"/>
            </a:xfrm>
            <a:custGeom>
              <a:avLst/>
              <a:gdLst>
                <a:gd name="connsiteX0" fmla="*/ 399931 w 399931"/>
                <a:gd name="connsiteY0" fmla="*/ 725537 h 725536"/>
                <a:gd name="connsiteX1" fmla="*/ 392070 w 399931"/>
                <a:gd name="connsiteY1" fmla="*/ 709815 h 725536"/>
                <a:gd name="connsiteX2" fmla="*/ 333221 w 399931"/>
                <a:gd name="connsiteY2" fmla="*/ 604018 h 725536"/>
                <a:gd name="connsiteX3" fmla="*/ 294025 w 399931"/>
                <a:gd name="connsiteY3" fmla="*/ 498221 h 725536"/>
                <a:gd name="connsiteX4" fmla="*/ 180367 w 399931"/>
                <a:gd name="connsiteY4" fmla="*/ 94469 h 725536"/>
                <a:gd name="connsiteX5" fmla="*/ 156894 w 399931"/>
                <a:gd name="connsiteY5" fmla="*/ 8215 h 725536"/>
                <a:gd name="connsiteX6" fmla="*/ 141171 w 399931"/>
                <a:gd name="connsiteY6" fmla="*/ 4285 h 725536"/>
                <a:gd name="connsiteX7" fmla="*/ 43127 w 399931"/>
                <a:gd name="connsiteY7" fmla="*/ 184653 h 725536"/>
                <a:gd name="connsiteX8" fmla="*/ 0 w 399931"/>
                <a:gd name="connsiteY8" fmla="*/ 423760 h 725536"/>
                <a:gd name="connsiteX9" fmla="*/ 19653 w 399931"/>
                <a:gd name="connsiteY9" fmla="*/ 580544 h 725536"/>
                <a:gd name="connsiteX10" fmla="*/ 54918 w 399931"/>
                <a:gd name="connsiteY10" fmla="*/ 615810 h 725536"/>
                <a:gd name="connsiteX11" fmla="*/ 399931 w 399931"/>
                <a:gd name="connsiteY11" fmla="*/ 725537 h 72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9931" h="725536">
                  <a:moveTo>
                    <a:pt x="399931" y="725537"/>
                  </a:moveTo>
                  <a:cubicBezTo>
                    <a:pt x="396001" y="721606"/>
                    <a:pt x="392070" y="717676"/>
                    <a:pt x="392070" y="709815"/>
                  </a:cubicBezTo>
                  <a:cubicBezTo>
                    <a:pt x="364666" y="678480"/>
                    <a:pt x="348943" y="639284"/>
                    <a:pt x="333221" y="604018"/>
                  </a:cubicBezTo>
                  <a:cubicBezTo>
                    <a:pt x="321430" y="568752"/>
                    <a:pt x="305817" y="533487"/>
                    <a:pt x="294025" y="498221"/>
                  </a:cubicBezTo>
                  <a:cubicBezTo>
                    <a:pt x="254829" y="388494"/>
                    <a:pt x="215633" y="255184"/>
                    <a:pt x="180367" y="94469"/>
                  </a:cubicBezTo>
                  <a:cubicBezTo>
                    <a:pt x="168576" y="63134"/>
                    <a:pt x="164645" y="31799"/>
                    <a:pt x="156894" y="8215"/>
                  </a:cubicBezTo>
                  <a:cubicBezTo>
                    <a:pt x="156894" y="354"/>
                    <a:pt x="145102" y="-3576"/>
                    <a:pt x="141171" y="4285"/>
                  </a:cubicBezTo>
                  <a:cubicBezTo>
                    <a:pt x="98045" y="59203"/>
                    <a:pt x="66710" y="121873"/>
                    <a:pt x="43127" y="184653"/>
                  </a:cubicBezTo>
                  <a:cubicBezTo>
                    <a:pt x="15722" y="263045"/>
                    <a:pt x="0" y="341437"/>
                    <a:pt x="0" y="423760"/>
                  </a:cubicBezTo>
                  <a:cubicBezTo>
                    <a:pt x="0" y="474747"/>
                    <a:pt x="7861" y="529556"/>
                    <a:pt x="19653" y="580544"/>
                  </a:cubicBezTo>
                  <a:cubicBezTo>
                    <a:pt x="23583" y="596266"/>
                    <a:pt x="35375" y="611879"/>
                    <a:pt x="54918" y="615810"/>
                  </a:cubicBezTo>
                  <a:lnTo>
                    <a:pt x="399931" y="72553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7" name="Vrije vorm: vorm 17">
              <a:extLst>
                <a:ext uri="{FF2B5EF4-FFF2-40B4-BE49-F238E27FC236}">
                  <a16:creationId xmlns:a16="http://schemas.microsoft.com/office/drawing/2014/main" id="{E2FB866E-2527-4BC5-6B25-E1F58871F855}"/>
                </a:ext>
              </a:extLst>
            </p:cNvPr>
            <p:cNvSpPr/>
            <p:nvPr/>
          </p:nvSpPr>
          <p:spPr>
            <a:xfrm>
              <a:off x="5818805" y="2153213"/>
              <a:ext cx="685890" cy="431570"/>
            </a:xfrm>
            <a:custGeom>
              <a:avLst/>
              <a:gdLst>
                <a:gd name="connsiteX0" fmla="*/ 650830 w 651930"/>
                <a:gd name="connsiteY0" fmla="*/ 397475 h 410202"/>
                <a:gd name="connsiteX1" fmla="*/ 466532 w 651930"/>
                <a:gd name="connsiteY1" fmla="*/ 142645 h 410202"/>
                <a:gd name="connsiteX2" fmla="*/ 211703 w 651930"/>
                <a:gd name="connsiteY2" fmla="*/ 1474 h 410202"/>
                <a:gd name="connsiteX3" fmla="*/ 164645 w 651930"/>
                <a:gd name="connsiteY3" fmla="*/ 13266 h 410202"/>
                <a:gd name="connsiteX4" fmla="*/ 0 w 651930"/>
                <a:gd name="connsiteY4" fmla="*/ 166119 h 410202"/>
                <a:gd name="connsiteX5" fmla="*/ 35266 w 651930"/>
                <a:gd name="connsiteY5" fmla="*/ 150397 h 410202"/>
                <a:gd name="connsiteX6" fmla="*/ 458671 w 651930"/>
                <a:gd name="connsiteY6" fmla="*/ 350308 h 410202"/>
                <a:gd name="connsiteX7" fmla="*/ 646899 w 651930"/>
                <a:gd name="connsiteY7" fmla="*/ 409157 h 410202"/>
                <a:gd name="connsiteX8" fmla="*/ 650830 w 651930"/>
                <a:gd name="connsiteY8" fmla="*/ 397365 h 41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1930" h="410202">
                  <a:moveTo>
                    <a:pt x="650830" y="397475"/>
                  </a:moveTo>
                  <a:cubicBezTo>
                    <a:pt x="611634" y="299430"/>
                    <a:pt x="544924" y="213177"/>
                    <a:pt x="466532" y="142645"/>
                  </a:cubicBezTo>
                  <a:cubicBezTo>
                    <a:pt x="392070" y="76045"/>
                    <a:pt x="305817" y="28988"/>
                    <a:pt x="211703" y="1474"/>
                  </a:cubicBezTo>
                  <a:cubicBezTo>
                    <a:pt x="195980" y="-2457"/>
                    <a:pt x="176437" y="1474"/>
                    <a:pt x="164645" y="13266"/>
                  </a:cubicBezTo>
                  <a:lnTo>
                    <a:pt x="0" y="166119"/>
                  </a:lnTo>
                  <a:lnTo>
                    <a:pt x="35266" y="150397"/>
                  </a:lnTo>
                  <a:lnTo>
                    <a:pt x="458671" y="350308"/>
                  </a:lnTo>
                  <a:lnTo>
                    <a:pt x="646899" y="409157"/>
                  </a:lnTo>
                  <a:cubicBezTo>
                    <a:pt x="646899" y="413088"/>
                    <a:pt x="654760" y="405227"/>
                    <a:pt x="650830" y="397365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8" name="Vrije vorm: vorm 10">
              <a:extLst>
                <a:ext uri="{FF2B5EF4-FFF2-40B4-BE49-F238E27FC236}">
                  <a16:creationId xmlns:a16="http://schemas.microsoft.com/office/drawing/2014/main" id="{88DC60A6-F47B-00EE-2889-7F90C694BE1C}"/>
                </a:ext>
              </a:extLst>
            </p:cNvPr>
            <p:cNvSpPr/>
            <p:nvPr/>
          </p:nvSpPr>
          <p:spPr>
            <a:xfrm>
              <a:off x="5538295" y="2562245"/>
              <a:ext cx="590418" cy="609888"/>
            </a:xfrm>
            <a:custGeom>
              <a:avLst/>
              <a:gdLst>
                <a:gd name="connsiteX0" fmla="*/ 560646 w 561185"/>
                <a:gd name="connsiteY0" fmla="*/ 443783 h 579691"/>
                <a:gd name="connsiteX1" fmla="*/ 560646 w 561185"/>
                <a:gd name="connsiteY1" fmla="*/ 98770 h 579691"/>
                <a:gd name="connsiteX2" fmla="*/ 552785 w 561185"/>
                <a:gd name="connsiteY2" fmla="*/ 86978 h 579691"/>
                <a:gd name="connsiteX3" fmla="*/ 540993 w 561185"/>
                <a:gd name="connsiteY3" fmla="*/ 83048 h 579691"/>
                <a:gd name="connsiteX4" fmla="*/ 533132 w 561185"/>
                <a:gd name="connsiteY4" fmla="*/ 86978 h 579691"/>
                <a:gd name="connsiteX5" fmla="*/ 521341 w 561185"/>
                <a:gd name="connsiteY5" fmla="*/ 98770 h 579691"/>
                <a:gd name="connsiteX6" fmla="*/ 525271 w 561185"/>
                <a:gd name="connsiteY6" fmla="*/ 110561 h 579691"/>
                <a:gd name="connsiteX7" fmla="*/ 533132 w 561185"/>
                <a:gd name="connsiteY7" fmla="*/ 118422 h 579691"/>
                <a:gd name="connsiteX8" fmla="*/ 533132 w 561185"/>
                <a:gd name="connsiteY8" fmla="*/ 396726 h 579691"/>
                <a:gd name="connsiteX9" fmla="*/ 525271 w 561185"/>
                <a:gd name="connsiteY9" fmla="*/ 404587 h 579691"/>
                <a:gd name="connsiteX10" fmla="*/ 74352 w 561185"/>
                <a:gd name="connsiteY10" fmla="*/ 431991 h 579691"/>
                <a:gd name="connsiteX11" fmla="*/ 66491 w 561185"/>
                <a:gd name="connsiteY11" fmla="*/ 424130 h 579691"/>
                <a:gd name="connsiteX12" fmla="*/ 66491 w 561185"/>
                <a:gd name="connsiteY12" fmla="*/ 51713 h 579691"/>
                <a:gd name="connsiteX13" fmla="*/ 74352 w 561185"/>
                <a:gd name="connsiteY13" fmla="*/ 43852 h 579691"/>
                <a:gd name="connsiteX14" fmla="*/ 348834 w 561185"/>
                <a:gd name="connsiteY14" fmla="*/ 86978 h 579691"/>
                <a:gd name="connsiteX15" fmla="*/ 356695 w 561185"/>
                <a:gd name="connsiteY15" fmla="*/ 83048 h 579691"/>
                <a:gd name="connsiteX16" fmla="*/ 368487 w 561185"/>
                <a:gd name="connsiteY16" fmla="*/ 67326 h 579691"/>
                <a:gd name="connsiteX17" fmla="*/ 364556 w 561185"/>
                <a:gd name="connsiteY17" fmla="*/ 55534 h 579691"/>
                <a:gd name="connsiteX18" fmla="*/ 31335 w 561185"/>
                <a:gd name="connsiteY18" fmla="*/ 616 h 579691"/>
                <a:gd name="connsiteX19" fmla="*/ 0 w 561185"/>
                <a:gd name="connsiteY19" fmla="*/ 24090 h 579691"/>
                <a:gd name="connsiteX20" fmla="*/ 0 w 561185"/>
                <a:gd name="connsiteY20" fmla="*/ 498373 h 579691"/>
                <a:gd name="connsiteX21" fmla="*/ 19653 w 561185"/>
                <a:gd name="connsiteY21" fmla="*/ 514096 h 579691"/>
                <a:gd name="connsiteX22" fmla="*/ 254938 w 561185"/>
                <a:gd name="connsiteY22" fmla="*/ 494443 h 579691"/>
                <a:gd name="connsiteX23" fmla="*/ 262799 w 561185"/>
                <a:gd name="connsiteY23" fmla="*/ 502304 h 579691"/>
                <a:gd name="connsiteX24" fmla="*/ 258869 w 561185"/>
                <a:gd name="connsiteY24" fmla="*/ 529708 h 579691"/>
                <a:gd name="connsiteX25" fmla="*/ 251008 w 561185"/>
                <a:gd name="connsiteY25" fmla="*/ 537570 h 579691"/>
                <a:gd name="connsiteX26" fmla="*/ 188229 w 561185"/>
                <a:gd name="connsiteY26" fmla="*/ 564974 h 579691"/>
                <a:gd name="connsiteX27" fmla="*/ 333330 w 561185"/>
                <a:gd name="connsiteY27" fmla="*/ 572835 h 579691"/>
                <a:gd name="connsiteX28" fmla="*/ 439236 w 561185"/>
                <a:gd name="connsiteY28" fmla="*/ 541500 h 579691"/>
                <a:gd name="connsiteX29" fmla="*/ 372636 w 561185"/>
                <a:gd name="connsiteY29" fmla="*/ 525778 h 579691"/>
                <a:gd name="connsiteX30" fmla="*/ 364775 w 561185"/>
                <a:gd name="connsiteY30" fmla="*/ 517917 h 579691"/>
                <a:gd name="connsiteX31" fmla="*/ 364775 w 561185"/>
                <a:gd name="connsiteY31" fmla="*/ 494443 h 579691"/>
                <a:gd name="connsiteX32" fmla="*/ 372636 w 561185"/>
                <a:gd name="connsiteY32" fmla="*/ 486582 h 579691"/>
                <a:gd name="connsiteX33" fmla="*/ 545142 w 561185"/>
                <a:gd name="connsiteY33" fmla="*/ 470860 h 579691"/>
                <a:gd name="connsiteX34" fmla="*/ 560864 w 561185"/>
                <a:gd name="connsiteY34" fmla="*/ 443455 h 5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61185" h="579691">
                  <a:moveTo>
                    <a:pt x="560646" y="443783"/>
                  </a:moveTo>
                  <a:lnTo>
                    <a:pt x="560646" y="98770"/>
                  </a:lnTo>
                  <a:cubicBezTo>
                    <a:pt x="560646" y="90909"/>
                    <a:pt x="556715" y="86978"/>
                    <a:pt x="552785" y="86978"/>
                  </a:cubicBezTo>
                  <a:lnTo>
                    <a:pt x="540993" y="83048"/>
                  </a:lnTo>
                  <a:cubicBezTo>
                    <a:pt x="538373" y="83048"/>
                    <a:pt x="535753" y="84358"/>
                    <a:pt x="533132" y="86978"/>
                  </a:cubicBezTo>
                  <a:cubicBezTo>
                    <a:pt x="529202" y="90909"/>
                    <a:pt x="525271" y="94839"/>
                    <a:pt x="521341" y="98770"/>
                  </a:cubicBezTo>
                  <a:cubicBezTo>
                    <a:pt x="517410" y="102700"/>
                    <a:pt x="521341" y="110561"/>
                    <a:pt x="525271" y="110561"/>
                  </a:cubicBezTo>
                  <a:cubicBezTo>
                    <a:pt x="529202" y="110561"/>
                    <a:pt x="533132" y="114492"/>
                    <a:pt x="533132" y="118422"/>
                  </a:cubicBezTo>
                  <a:lnTo>
                    <a:pt x="533132" y="396726"/>
                  </a:lnTo>
                  <a:cubicBezTo>
                    <a:pt x="533132" y="400656"/>
                    <a:pt x="529202" y="404587"/>
                    <a:pt x="525271" y="404587"/>
                  </a:cubicBezTo>
                  <a:lnTo>
                    <a:pt x="74352" y="431991"/>
                  </a:lnTo>
                  <a:cubicBezTo>
                    <a:pt x="70422" y="431991"/>
                    <a:pt x="66491" y="428061"/>
                    <a:pt x="66491" y="424130"/>
                  </a:cubicBezTo>
                  <a:lnTo>
                    <a:pt x="66491" y="51713"/>
                  </a:lnTo>
                  <a:cubicBezTo>
                    <a:pt x="66491" y="47782"/>
                    <a:pt x="70422" y="43852"/>
                    <a:pt x="74352" y="43852"/>
                  </a:cubicBezTo>
                  <a:lnTo>
                    <a:pt x="348834" y="86978"/>
                  </a:lnTo>
                  <a:cubicBezTo>
                    <a:pt x="352765" y="86978"/>
                    <a:pt x="356695" y="86978"/>
                    <a:pt x="356695" y="83048"/>
                  </a:cubicBezTo>
                  <a:cubicBezTo>
                    <a:pt x="360626" y="79117"/>
                    <a:pt x="364556" y="71256"/>
                    <a:pt x="368487" y="67326"/>
                  </a:cubicBezTo>
                  <a:cubicBezTo>
                    <a:pt x="372417" y="63395"/>
                    <a:pt x="368487" y="55534"/>
                    <a:pt x="364556" y="55534"/>
                  </a:cubicBezTo>
                  <a:lnTo>
                    <a:pt x="31335" y="616"/>
                  </a:lnTo>
                  <a:cubicBezTo>
                    <a:pt x="15613" y="-3315"/>
                    <a:pt x="0" y="12407"/>
                    <a:pt x="0" y="24090"/>
                  </a:cubicBezTo>
                  <a:lnTo>
                    <a:pt x="0" y="498373"/>
                  </a:lnTo>
                  <a:cubicBezTo>
                    <a:pt x="0" y="506234"/>
                    <a:pt x="7861" y="514096"/>
                    <a:pt x="19653" y="514096"/>
                  </a:cubicBezTo>
                  <a:cubicBezTo>
                    <a:pt x="19653" y="514096"/>
                    <a:pt x="129489" y="502304"/>
                    <a:pt x="254938" y="494443"/>
                  </a:cubicBezTo>
                  <a:cubicBezTo>
                    <a:pt x="258869" y="494443"/>
                    <a:pt x="262799" y="498373"/>
                    <a:pt x="262799" y="502304"/>
                  </a:cubicBezTo>
                  <a:lnTo>
                    <a:pt x="258869" y="529708"/>
                  </a:lnTo>
                  <a:cubicBezTo>
                    <a:pt x="258869" y="533639"/>
                    <a:pt x="254938" y="537570"/>
                    <a:pt x="251008" y="537570"/>
                  </a:cubicBezTo>
                  <a:cubicBezTo>
                    <a:pt x="215742" y="545431"/>
                    <a:pt x="188229" y="553292"/>
                    <a:pt x="188229" y="564974"/>
                  </a:cubicBezTo>
                  <a:cubicBezTo>
                    <a:pt x="188229" y="580696"/>
                    <a:pt x="258760" y="584627"/>
                    <a:pt x="333330" y="572835"/>
                  </a:cubicBezTo>
                  <a:cubicBezTo>
                    <a:pt x="396110" y="564974"/>
                    <a:pt x="439236" y="549361"/>
                    <a:pt x="439236" y="541500"/>
                  </a:cubicBezTo>
                  <a:cubicBezTo>
                    <a:pt x="439236" y="533639"/>
                    <a:pt x="411832" y="525778"/>
                    <a:pt x="372636" y="525778"/>
                  </a:cubicBezTo>
                  <a:cubicBezTo>
                    <a:pt x="368705" y="525778"/>
                    <a:pt x="364775" y="521847"/>
                    <a:pt x="364775" y="517917"/>
                  </a:cubicBezTo>
                  <a:lnTo>
                    <a:pt x="364775" y="494443"/>
                  </a:lnTo>
                  <a:cubicBezTo>
                    <a:pt x="364775" y="490512"/>
                    <a:pt x="368705" y="486582"/>
                    <a:pt x="372636" y="486582"/>
                  </a:cubicBezTo>
                  <a:cubicBezTo>
                    <a:pt x="462819" y="478721"/>
                    <a:pt x="541212" y="470860"/>
                    <a:pt x="545142" y="470860"/>
                  </a:cubicBezTo>
                  <a:cubicBezTo>
                    <a:pt x="564795" y="462999"/>
                    <a:pt x="560864" y="443455"/>
                    <a:pt x="560864" y="443455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9" name="Vrije vorm: vorm 11">
              <a:extLst>
                <a:ext uri="{FF2B5EF4-FFF2-40B4-BE49-F238E27FC236}">
                  <a16:creationId xmlns:a16="http://schemas.microsoft.com/office/drawing/2014/main" id="{883193CA-2CD7-75A3-79DE-4E93D02B7238}"/>
                </a:ext>
              </a:extLst>
            </p:cNvPr>
            <p:cNvSpPr/>
            <p:nvPr/>
          </p:nvSpPr>
          <p:spPr>
            <a:xfrm>
              <a:off x="5688888" y="2497992"/>
              <a:ext cx="454650" cy="450400"/>
            </a:xfrm>
            <a:custGeom>
              <a:avLst/>
              <a:gdLst>
                <a:gd name="connsiteX0" fmla="*/ 354730 w 432139"/>
                <a:gd name="connsiteY0" fmla="*/ 3057 h 428100"/>
                <a:gd name="connsiteX1" fmla="*/ 158640 w 432139"/>
                <a:gd name="connsiteY1" fmla="*/ 289221 h 428100"/>
                <a:gd name="connsiteX2" fmla="*/ 150779 w 432139"/>
                <a:gd name="connsiteY2" fmla="*/ 289221 h 428100"/>
                <a:gd name="connsiteX3" fmla="*/ 64526 w 432139"/>
                <a:gd name="connsiteY3" fmla="*/ 199038 h 428100"/>
                <a:gd name="connsiteX4" fmla="*/ 56665 w 432139"/>
                <a:gd name="connsiteY4" fmla="*/ 199038 h 428100"/>
                <a:gd name="connsiteX5" fmla="*/ 1747 w 432139"/>
                <a:gd name="connsiteY5" fmla="*/ 265638 h 428100"/>
                <a:gd name="connsiteX6" fmla="*/ 1747 w 432139"/>
                <a:gd name="connsiteY6" fmla="*/ 273499 h 428100"/>
                <a:gd name="connsiteX7" fmla="*/ 182114 w 432139"/>
                <a:gd name="connsiteY7" fmla="*/ 426353 h 428100"/>
                <a:gd name="connsiteX8" fmla="*/ 189975 w 432139"/>
                <a:gd name="connsiteY8" fmla="*/ 426353 h 428100"/>
                <a:gd name="connsiteX9" fmla="*/ 429192 w 432139"/>
                <a:gd name="connsiteY9" fmla="*/ 81340 h 428100"/>
                <a:gd name="connsiteX10" fmla="*/ 429192 w 432139"/>
                <a:gd name="connsiteY10" fmla="*/ 73479 h 428100"/>
                <a:gd name="connsiteX11" fmla="*/ 366412 w 432139"/>
                <a:gd name="connsiteY11" fmla="*/ 2948 h 428100"/>
                <a:gd name="connsiteX12" fmla="*/ 354621 w 432139"/>
                <a:gd name="connsiteY12" fmla="*/ 2948 h 42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139" h="428100">
                  <a:moveTo>
                    <a:pt x="354730" y="3057"/>
                  </a:moveTo>
                  <a:cubicBezTo>
                    <a:pt x="260616" y="85380"/>
                    <a:pt x="197946" y="206899"/>
                    <a:pt x="158640" y="289221"/>
                  </a:cubicBezTo>
                  <a:cubicBezTo>
                    <a:pt x="158640" y="293152"/>
                    <a:pt x="150779" y="293152"/>
                    <a:pt x="150779" y="289221"/>
                  </a:cubicBezTo>
                  <a:cubicBezTo>
                    <a:pt x="135057" y="269569"/>
                    <a:pt x="80248" y="214760"/>
                    <a:pt x="64526" y="199038"/>
                  </a:cubicBezTo>
                  <a:cubicBezTo>
                    <a:pt x="60596" y="195107"/>
                    <a:pt x="56665" y="195107"/>
                    <a:pt x="56665" y="199038"/>
                  </a:cubicBezTo>
                  <a:cubicBezTo>
                    <a:pt x="44874" y="214760"/>
                    <a:pt x="17469" y="250025"/>
                    <a:pt x="1747" y="265638"/>
                  </a:cubicBezTo>
                  <a:cubicBezTo>
                    <a:pt x="-2184" y="269569"/>
                    <a:pt x="1747" y="273499"/>
                    <a:pt x="1747" y="273499"/>
                  </a:cubicBezTo>
                  <a:cubicBezTo>
                    <a:pt x="40943" y="304834"/>
                    <a:pt x="142918" y="391088"/>
                    <a:pt x="182114" y="426353"/>
                  </a:cubicBezTo>
                  <a:cubicBezTo>
                    <a:pt x="186045" y="430284"/>
                    <a:pt x="189975" y="426353"/>
                    <a:pt x="189975" y="426353"/>
                  </a:cubicBezTo>
                  <a:cubicBezTo>
                    <a:pt x="264437" y="249916"/>
                    <a:pt x="339008" y="151980"/>
                    <a:pt x="429192" y="81340"/>
                  </a:cubicBezTo>
                  <a:cubicBezTo>
                    <a:pt x="433122" y="81340"/>
                    <a:pt x="433122" y="77410"/>
                    <a:pt x="429192" y="73479"/>
                  </a:cubicBezTo>
                  <a:lnTo>
                    <a:pt x="366412" y="2948"/>
                  </a:lnTo>
                  <a:cubicBezTo>
                    <a:pt x="358551" y="-983"/>
                    <a:pt x="354621" y="-983"/>
                    <a:pt x="354621" y="2948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</p:grpSp>
      <p:sp>
        <p:nvSpPr>
          <p:cNvPr id="20" name="Tekstvak 59">
            <a:extLst>
              <a:ext uri="{FF2B5EF4-FFF2-40B4-BE49-F238E27FC236}">
                <a16:creationId xmlns:a16="http://schemas.microsoft.com/office/drawing/2014/main" id="{81194DB6-64FC-C80D-AAC8-ECB1A668F5F0}"/>
              </a:ext>
            </a:extLst>
          </p:cNvPr>
          <p:cNvSpPr txBox="1"/>
          <p:nvPr/>
        </p:nvSpPr>
        <p:spPr>
          <a:xfrm>
            <a:off x="84581" y="2076344"/>
            <a:ext cx="26105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sz="20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Solution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1A0DD29-E7DC-540B-3A15-2388143F5D17}"/>
              </a:ext>
            </a:extLst>
          </p:cNvPr>
          <p:cNvGrpSpPr/>
          <p:nvPr/>
        </p:nvGrpSpPr>
        <p:grpSpPr>
          <a:xfrm>
            <a:off x="372478" y="3131795"/>
            <a:ext cx="4527917" cy="400110"/>
            <a:chOff x="372478" y="3131795"/>
            <a:chExt cx="4527917" cy="400110"/>
          </a:xfrm>
        </p:grpSpPr>
        <p:sp>
          <p:nvSpPr>
            <p:cNvPr id="6" name="Tekstvak 59">
              <a:extLst>
                <a:ext uri="{FF2B5EF4-FFF2-40B4-BE49-F238E27FC236}">
                  <a16:creationId xmlns:a16="http://schemas.microsoft.com/office/drawing/2014/main" id="{4D9D64A6-27BA-82EB-4999-A94AE045B074}"/>
                </a:ext>
              </a:extLst>
            </p:cNvPr>
            <p:cNvSpPr txBox="1"/>
            <p:nvPr/>
          </p:nvSpPr>
          <p:spPr>
            <a:xfrm>
              <a:off x="623582" y="3131795"/>
              <a:ext cx="4276813" cy="400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nl-BE" sz="2000" b="1">
                  <a:solidFill>
                    <a:schemeClr val="bg1"/>
                  </a:solidFill>
                  <a:effectLst>
                    <a:outerShdw blurRad="266700" dist="165100" dir="2700000" algn="tl" rotWithShape="0">
                      <a:prstClr val="black">
                        <a:alpha val="30000"/>
                      </a:prstClr>
                    </a:outerShdw>
                  </a:effectLst>
                </a:rPr>
                <a:t>Patch My PC Publisher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4DB4941-14F2-CBC6-1074-9A3E82809B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478" y="3183444"/>
              <a:ext cx="269961" cy="269961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982F8D7-A568-107A-9ECB-F900D2DA773B}"/>
              </a:ext>
            </a:extLst>
          </p:cNvPr>
          <p:cNvGrpSpPr/>
          <p:nvPr/>
        </p:nvGrpSpPr>
        <p:grpSpPr>
          <a:xfrm>
            <a:off x="372478" y="3765656"/>
            <a:ext cx="4553352" cy="400110"/>
            <a:chOff x="372478" y="3765656"/>
            <a:chExt cx="4553352" cy="400110"/>
          </a:xfrm>
        </p:grpSpPr>
        <p:sp>
          <p:nvSpPr>
            <p:cNvPr id="7" name="Tekstvak 59">
              <a:extLst>
                <a:ext uri="{FF2B5EF4-FFF2-40B4-BE49-F238E27FC236}">
                  <a16:creationId xmlns:a16="http://schemas.microsoft.com/office/drawing/2014/main" id="{DFC4B891-C30E-26E3-4CEC-D5C9536E0AEC}"/>
                </a:ext>
              </a:extLst>
            </p:cNvPr>
            <p:cNvSpPr txBox="1"/>
            <p:nvPr/>
          </p:nvSpPr>
          <p:spPr>
            <a:xfrm>
              <a:off x="649017" y="3765656"/>
              <a:ext cx="427681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2000" b="1">
                  <a:solidFill>
                    <a:schemeClr val="bg1"/>
                  </a:solidFill>
                  <a:effectLst>
                    <a:outerShdw blurRad="266700" dist="165100" dir="2700000" algn="tl" rotWithShape="0">
                      <a:prstClr val="black">
                        <a:alpha val="30000"/>
                      </a:prstClr>
                    </a:outerShdw>
                  </a:effectLst>
                </a:rPr>
                <a:t>Patch My PC Catalog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55F46F09-F640-65B2-BA43-D14ABA0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478" y="3808542"/>
              <a:ext cx="269961" cy="269961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369035-FB08-A79E-7FAA-F9E30A536E85}"/>
              </a:ext>
            </a:extLst>
          </p:cNvPr>
          <p:cNvGrpSpPr/>
          <p:nvPr/>
        </p:nvGrpSpPr>
        <p:grpSpPr>
          <a:xfrm>
            <a:off x="372478" y="4472646"/>
            <a:ext cx="4273078" cy="400110"/>
            <a:chOff x="372478" y="4472646"/>
            <a:chExt cx="4273078" cy="400110"/>
          </a:xfrm>
        </p:grpSpPr>
        <p:sp>
          <p:nvSpPr>
            <p:cNvPr id="5" name="Tekstvak 59">
              <a:extLst>
                <a:ext uri="{FF2B5EF4-FFF2-40B4-BE49-F238E27FC236}">
                  <a16:creationId xmlns:a16="http://schemas.microsoft.com/office/drawing/2014/main" id="{D8465869-C285-818E-3AB1-4F5380598CBC}"/>
                </a:ext>
              </a:extLst>
            </p:cNvPr>
            <p:cNvSpPr txBox="1"/>
            <p:nvPr/>
          </p:nvSpPr>
          <p:spPr>
            <a:xfrm>
              <a:off x="649017" y="4472646"/>
              <a:ext cx="399653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2000" b="1">
                  <a:solidFill>
                    <a:schemeClr val="bg1"/>
                  </a:solidFill>
                  <a:effectLst>
                    <a:outerShdw blurRad="266700" dist="165100" dir="2700000" algn="tl" rotWithShape="0">
                      <a:prstClr val="black">
                        <a:alpha val="30000"/>
                      </a:prstClr>
                    </a:outerShdw>
                  </a:effectLst>
                </a:rPr>
                <a:t>Patch My PC Cloud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28CB01D-A6B0-7F7A-169B-E811E211A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478" y="4516298"/>
              <a:ext cx="269961" cy="26996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BDA098E-DC0E-8672-1CB8-688A4484FEC7}"/>
              </a:ext>
            </a:extLst>
          </p:cNvPr>
          <p:cNvGrpSpPr/>
          <p:nvPr/>
        </p:nvGrpSpPr>
        <p:grpSpPr>
          <a:xfrm>
            <a:off x="372478" y="5179636"/>
            <a:ext cx="3484603" cy="400110"/>
            <a:chOff x="372478" y="5179636"/>
            <a:chExt cx="3484603" cy="400110"/>
          </a:xfrm>
        </p:grpSpPr>
        <p:sp>
          <p:nvSpPr>
            <p:cNvPr id="9" name="Tekstvak 59">
              <a:extLst>
                <a:ext uri="{FF2B5EF4-FFF2-40B4-BE49-F238E27FC236}">
                  <a16:creationId xmlns:a16="http://schemas.microsoft.com/office/drawing/2014/main" id="{4C4A5667-E12A-3222-6124-0155832B3A15}"/>
                </a:ext>
              </a:extLst>
            </p:cNvPr>
            <p:cNvSpPr txBox="1"/>
            <p:nvPr/>
          </p:nvSpPr>
          <p:spPr>
            <a:xfrm>
              <a:off x="642439" y="5179636"/>
              <a:ext cx="321464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2000" b="1">
                  <a:solidFill>
                    <a:schemeClr val="bg1"/>
                  </a:solidFill>
                </a:rPr>
                <a:t>Advanced Insights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A7804E4-DBD0-6874-51F0-19373909F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478" y="5224054"/>
              <a:ext cx="269961" cy="269961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E611A45B-C78C-D790-C899-923B0708F6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0138" y="1428681"/>
            <a:ext cx="5926236" cy="42064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91250" dist="38100" dir="13500000" sx="107000" sy="107000" algn="br" rotWithShape="0">
              <a:prstClr val="black">
                <a:alpha val="71334"/>
              </a:prstClr>
            </a:outerShdw>
            <a:reflection blurRad="12700" stA="38000" endPos="10000" dist="5000" dir="5400000" sy="-100000" algn="bl" rotWithShape="0"/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42A37F-4DB6-364A-0236-6FBB3F02A6C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0"/>
          <a:stretch/>
        </p:blipFill>
        <p:spPr>
          <a:xfrm>
            <a:off x="4989129" y="1746111"/>
            <a:ext cx="6376955" cy="39885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90662" dist="38100" dir="13500000" sx="107000" sy="107000" algn="br" rotWithShape="0">
              <a:prstClr val="black">
                <a:alpha val="76000"/>
              </a:prstClr>
            </a:outerShdw>
            <a:reflection blurRad="12700" stA="38000" endPos="10000" dist="5000" dir="5400000" sy="-100000" algn="bl" rotWithShape="0"/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577E9DC-18AB-43E8-D129-2FBF4086EE6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2586"/>
          <a:stretch/>
        </p:blipFill>
        <p:spPr>
          <a:xfrm>
            <a:off x="5255030" y="1974941"/>
            <a:ext cx="6638838" cy="39622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44041" dist="38100" dir="13500000" sx="105000" sy="105000" algn="br" rotWithShape="0">
              <a:prstClr val="black">
                <a:alpha val="52420"/>
              </a:prstClr>
            </a:outerShdw>
            <a:reflection blurRad="12700" stA="38000" endPos="10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02607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E3BC6-3AE1-6FDC-774C-C9DBC1781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15610B34-8820-8962-88BF-34B47B9D9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743523" y="-2666033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C34FC7-335D-7C8B-9EED-AD7BB42D38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354779"/>
              </p:ext>
            </p:extLst>
          </p:nvPr>
        </p:nvGraphicFramePr>
        <p:xfrm>
          <a:off x="337034" y="1101326"/>
          <a:ext cx="11517931" cy="4400312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2680486">
                  <a:extLst>
                    <a:ext uri="{9D8B030D-6E8A-4147-A177-3AD203B41FA5}">
                      <a16:colId xmlns:a16="http://schemas.microsoft.com/office/drawing/2014/main" val="4105758085"/>
                    </a:ext>
                  </a:extLst>
                </a:gridCol>
                <a:gridCol w="2733040">
                  <a:extLst>
                    <a:ext uri="{9D8B030D-6E8A-4147-A177-3AD203B41FA5}">
                      <a16:colId xmlns:a16="http://schemas.microsoft.com/office/drawing/2014/main" val="1021113813"/>
                    </a:ext>
                  </a:extLst>
                </a:gridCol>
                <a:gridCol w="1330960">
                  <a:extLst>
                    <a:ext uri="{9D8B030D-6E8A-4147-A177-3AD203B41FA5}">
                      <a16:colId xmlns:a16="http://schemas.microsoft.com/office/drawing/2014/main" val="1278348144"/>
                    </a:ext>
                  </a:extLst>
                </a:gridCol>
                <a:gridCol w="1178560">
                  <a:extLst>
                    <a:ext uri="{9D8B030D-6E8A-4147-A177-3AD203B41FA5}">
                      <a16:colId xmlns:a16="http://schemas.microsoft.com/office/drawing/2014/main" val="4142911408"/>
                    </a:ext>
                  </a:extLst>
                </a:gridCol>
                <a:gridCol w="1124144">
                  <a:extLst>
                    <a:ext uri="{9D8B030D-6E8A-4147-A177-3AD203B41FA5}">
                      <a16:colId xmlns:a16="http://schemas.microsoft.com/office/drawing/2014/main" val="2184682742"/>
                    </a:ext>
                  </a:extLst>
                </a:gridCol>
                <a:gridCol w="2470741">
                  <a:extLst>
                    <a:ext uri="{9D8B030D-6E8A-4147-A177-3AD203B41FA5}">
                      <a16:colId xmlns:a16="http://schemas.microsoft.com/office/drawing/2014/main" val="3522148062"/>
                    </a:ext>
                  </a:extLst>
                </a:gridCol>
              </a:tblGrid>
              <a:tr h="960329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Solution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Purpose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err="1">
                          <a:solidFill>
                            <a:schemeClr val="bg2"/>
                          </a:solidFill>
                        </a:rPr>
                        <a:t>ConfigMgr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Intune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WSUS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Technology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694037"/>
                  </a:ext>
                </a:extLst>
              </a:tr>
              <a:tr h="942204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atch My PC Publisher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atching and Application Management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On-Prem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1462462"/>
                  </a:ext>
                </a:extLst>
              </a:tr>
              <a:tr h="942204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atch My PC Cloud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Patching and Application Management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artial </a:t>
                      </a:r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*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No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Saa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7531678"/>
                  </a:ext>
                </a:extLst>
              </a:tr>
              <a:tr h="942204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Advanced Insight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Insights and Compliance Reporting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ivate Preview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No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n-Prem / SaaS 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9692493"/>
                  </a:ext>
                </a:extLst>
              </a:tr>
              <a:tr h="613371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atch My PC Catalog </a:t>
                      </a:r>
                      <a:r>
                        <a:rPr lang="en-US" sz="1600">
                          <a:solidFill>
                            <a:schemeClr val="bg2"/>
                          </a:solidFill>
                        </a:rPr>
                        <a:t>**</a:t>
                      </a:r>
                      <a:endParaRPr lang="en-GB" sz="160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App Catalog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s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-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0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460406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E2573E5-C646-866E-E26A-345E2C39F98F}"/>
              </a:ext>
            </a:extLst>
          </p:cNvPr>
          <p:cNvSpPr txBox="1"/>
          <p:nvPr/>
        </p:nvSpPr>
        <p:spPr>
          <a:xfrm>
            <a:off x="279584" y="5778799"/>
            <a:ext cx="11989907" cy="4308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100" i="1">
                <a:solidFill>
                  <a:schemeClr val="bg2"/>
                </a:solidFill>
              </a:rPr>
              <a:t>*   </a:t>
            </a:r>
            <a:r>
              <a:rPr lang="en-US" sz="1100" i="1">
                <a:solidFill>
                  <a:schemeClr val="bg1"/>
                </a:solidFill>
              </a:rPr>
              <a:t>Patch My PC Publisher leverages the power of Patch My PC Cloud to allow customers to create Custom Apps in </a:t>
            </a:r>
            <a:r>
              <a:rPr lang="en-US" sz="1100" i="1" err="1">
                <a:solidFill>
                  <a:schemeClr val="bg1"/>
                </a:solidFill>
              </a:rPr>
              <a:t>ConfigMgr</a:t>
            </a:r>
            <a:endParaRPr lang="en-US" sz="1100" i="1">
              <a:solidFill>
                <a:schemeClr val="bg1"/>
              </a:solidFill>
              <a:cs typeface="Poppins"/>
            </a:endParaRPr>
          </a:p>
          <a:p>
            <a:r>
              <a:rPr lang="en-US" sz="1100" i="1">
                <a:solidFill>
                  <a:schemeClr val="bg2"/>
                </a:solidFill>
              </a:rPr>
              <a:t>** </a:t>
            </a:r>
            <a:r>
              <a:rPr lang="en-US" sz="1100" i="1">
                <a:solidFill>
                  <a:schemeClr val="bg1"/>
                </a:solidFill>
              </a:rPr>
              <a:t>Patch My PC Catalog is included with, and leveraged by, Patch My PC Publisher, Patch My PC Cloud and Advanced Insights</a:t>
            </a:r>
            <a:endParaRPr lang="en-US" sz="1100" i="1">
              <a:solidFill>
                <a:schemeClr val="bg1"/>
              </a:solidFill>
              <a:cs typeface="Poppin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A779A8-01C3-4FF7-19E9-FB6834ECB056}"/>
              </a:ext>
            </a:extLst>
          </p:cNvPr>
          <p:cNvSpPr txBox="1"/>
          <p:nvPr/>
        </p:nvSpPr>
        <p:spPr>
          <a:xfrm>
            <a:off x="262449" y="399361"/>
            <a:ext cx="11441809" cy="5232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Solution Platform &amp; Technology Overview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9159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73E82C-E448-38BB-C94B-E65281814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10">
            <a:extLst>
              <a:ext uri="{FF2B5EF4-FFF2-40B4-BE49-F238E27FC236}">
                <a16:creationId xmlns:a16="http://schemas.microsoft.com/office/drawing/2014/main" id="{0511C796-3209-47A3-FAC7-B1E01FBBA58E}"/>
              </a:ext>
            </a:extLst>
          </p:cNvPr>
          <p:cNvSpPr/>
          <p:nvPr/>
        </p:nvSpPr>
        <p:spPr>
          <a:xfrm rot="10800000">
            <a:off x="20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006094">
                  <a:alpha val="72000"/>
                </a:srgbClr>
              </a:gs>
              <a:gs pos="52000">
                <a:srgbClr val="15152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0" name="Groep 1">
            <a:extLst>
              <a:ext uri="{FF2B5EF4-FFF2-40B4-BE49-F238E27FC236}">
                <a16:creationId xmlns:a16="http://schemas.microsoft.com/office/drawing/2014/main" id="{D7471C7F-DBE3-4582-A143-62953D93C6B5}"/>
              </a:ext>
            </a:extLst>
          </p:cNvPr>
          <p:cNvGrpSpPr/>
          <p:nvPr/>
        </p:nvGrpSpPr>
        <p:grpSpPr>
          <a:xfrm>
            <a:off x="1585371" y="795376"/>
            <a:ext cx="5602662" cy="911165"/>
            <a:chOff x="1363644" y="2784654"/>
            <a:chExt cx="3614116" cy="911165"/>
          </a:xfrm>
        </p:grpSpPr>
        <p:sp>
          <p:nvSpPr>
            <p:cNvPr id="11" name="Rechthoek: afgeronde hoeken 2">
              <a:extLst>
                <a:ext uri="{FF2B5EF4-FFF2-40B4-BE49-F238E27FC236}">
                  <a16:creationId xmlns:a16="http://schemas.microsoft.com/office/drawing/2014/main" id="{09662E57-4DE0-DA9F-70E6-2E622FF0ACFB}"/>
                </a:ext>
              </a:extLst>
            </p:cNvPr>
            <p:cNvSpPr/>
            <p:nvPr/>
          </p:nvSpPr>
          <p:spPr>
            <a:xfrm>
              <a:off x="1363644" y="2784654"/>
              <a:ext cx="3551617" cy="911165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12" name="Tekstvak 3">
              <a:extLst>
                <a:ext uri="{FF2B5EF4-FFF2-40B4-BE49-F238E27FC236}">
                  <a16:creationId xmlns:a16="http://schemas.microsoft.com/office/drawing/2014/main" id="{0324E07A-08F8-B84B-7708-CEEC71140CF0}"/>
                </a:ext>
              </a:extLst>
            </p:cNvPr>
            <p:cNvSpPr txBox="1"/>
            <p:nvPr/>
          </p:nvSpPr>
          <p:spPr>
            <a:xfrm>
              <a:off x="1433957" y="2891883"/>
              <a:ext cx="3543803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000" b="1">
                  <a:solidFill>
                    <a:schemeClr val="bg1"/>
                  </a:solidFill>
                </a:rPr>
                <a:t>First Class Support</a:t>
              </a:r>
            </a:p>
          </p:txBody>
        </p:sp>
      </p:grpSp>
      <p:sp>
        <p:nvSpPr>
          <p:cNvPr id="14" name="Rechthoek: afgeronde hoeken 7">
            <a:extLst>
              <a:ext uri="{FF2B5EF4-FFF2-40B4-BE49-F238E27FC236}">
                <a16:creationId xmlns:a16="http://schemas.microsoft.com/office/drawing/2014/main" id="{7B1212FE-760B-838E-6E5B-D417ED143DBC}"/>
              </a:ext>
            </a:extLst>
          </p:cNvPr>
          <p:cNvSpPr/>
          <p:nvPr/>
        </p:nvSpPr>
        <p:spPr>
          <a:xfrm>
            <a:off x="762000" y="528909"/>
            <a:ext cx="1008124" cy="1009221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AA90F40-A144-FB1D-1CD6-49C841EBA8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097" y="783263"/>
            <a:ext cx="541929" cy="4696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6FB05D4-DB2E-C42C-4121-BC0213E28F8B}"/>
              </a:ext>
            </a:extLst>
          </p:cNvPr>
          <p:cNvSpPr txBox="1"/>
          <p:nvPr/>
        </p:nvSpPr>
        <p:spPr>
          <a:xfrm>
            <a:off x="7578380" y="3920113"/>
            <a:ext cx="4396385" cy="1848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spcBef>
                <a:spcPts val="1800"/>
              </a:spcBef>
            </a:pPr>
            <a:r>
              <a:rPr lang="en-US" sz="1400" i="0">
                <a:solidFill>
                  <a:schemeClr val="bg1"/>
                </a:solidFill>
                <a:effectLst/>
              </a:rPr>
              <a:t>Support is included with all our products – our customers testify to it being fast, reliable and professional</a:t>
            </a:r>
            <a:endParaRPr lang="en-US" sz="1400">
              <a:solidFill>
                <a:schemeClr val="bg1"/>
              </a:solidFill>
            </a:endParaRPr>
          </a:p>
          <a:p>
            <a:pPr algn="l">
              <a:lnSpc>
                <a:spcPts val="1680"/>
              </a:lnSpc>
              <a:spcBef>
                <a:spcPts val="1800"/>
              </a:spcBef>
            </a:pPr>
            <a:r>
              <a:rPr lang="en-US" sz="1400" i="0">
                <a:solidFill>
                  <a:schemeClr val="bg1"/>
                </a:solidFill>
                <a:effectLst/>
              </a:rPr>
              <a:t>With an ever growing, diverse, and highly skilled Customer Engineering team </a:t>
            </a:r>
            <a:r>
              <a:rPr lang="en-US" sz="1400">
                <a:solidFill>
                  <a:schemeClr val="bg1"/>
                </a:solidFill>
              </a:rPr>
              <a:t>ready to help, you can be confident of the </a:t>
            </a:r>
            <a:r>
              <a:rPr lang="en-US" sz="1400" i="0">
                <a:solidFill>
                  <a:schemeClr val="bg1"/>
                </a:solidFill>
                <a:effectLst/>
              </a:rPr>
              <a:t>successful outcome of your third-party patching strategy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D8AC46D-64B4-3E4E-3E2D-41434C6E0C3B}"/>
              </a:ext>
            </a:extLst>
          </p:cNvPr>
          <p:cNvSpPr/>
          <p:nvPr/>
        </p:nvSpPr>
        <p:spPr>
          <a:xfrm>
            <a:off x="769677" y="1873263"/>
            <a:ext cx="6321469" cy="3994138"/>
          </a:xfrm>
          <a:prstGeom prst="roundRect">
            <a:avLst>
              <a:gd name="adj" fmla="val 193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732BB-047F-17D1-6DA7-09986BAABB33}"/>
              </a:ext>
            </a:extLst>
          </p:cNvPr>
          <p:cNvGrpSpPr/>
          <p:nvPr/>
        </p:nvGrpSpPr>
        <p:grpSpPr>
          <a:xfrm>
            <a:off x="7632040" y="758229"/>
            <a:ext cx="3979948" cy="2783013"/>
            <a:chOff x="142236" y="3262141"/>
            <a:chExt cx="4705764" cy="3290547"/>
          </a:xfrm>
          <a:blipFill dpi="0" rotWithShape="1">
            <a:blip r:embed="rId5"/>
            <a:srcRect/>
            <a:tile tx="0" ty="0" sx="100000" sy="100000" flip="none" algn="tl"/>
          </a:blipFill>
        </p:grpSpPr>
        <p:pic>
          <p:nvPicPr>
            <p:cNvPr id="1044" name="Picture 20">
              <a:extLst>
                <a:ext uri="{FF2B5EF4-FFF2-40B4-BE49-F238E27FC236}">
                  <a16:creationId xmlns:a16="http://schemas.microsoft.com/office/drawing/2014/main" id="{FBBDF0E3-BE0C-07DD-0C69-01974C96D79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678"/>
            <a:stretch/>
          </p:blipFill>
          <p:spPr bwMode="auto">
            <a:xfrm>
              <a:off x="4027226" y="4720952"/>
              <a:ext cx="819427" cy="949271"/>
            </a:xfrm>
            <a:prstGeom prst="rect">
              <a:avLst/>
            </a:prstGeom>
            <a:grpFill/>
          </p:spPr>
        </p:pic>
        <p:pic>
          <p:nvPicPr>
            <p:cNvPr id="1026" name="Picture 2" descr="Adam Cook Patch My PC Team Photo">
              <a:extLst>
                <a:ext uri="{FF2B5EF4-FFF2-40B4-BE49-F238E27FC236}">
                  <a16:creationId xmlns:a16="http://schemas.microsoft.com/office/drawing/2014/main" id="{62BC3C0C-DB7C-BD2B-675C-E4B1917FFD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365" y="3294460"/>
              <a:ext cx="1596298" cy="1596298"/>
            </a:xfrm>
            <a:prstGeom prst="rect">
              <a:avLst/>
            </a:prstGeom>
            <a:grpFill/>
          </p:spPr>
        </p:pic>
        <p:pic>
          <p:nvPicPr>
            <p:cNvPr id="1030" name="Picture 6" descr="Ada Aitonean Profile Picture">
              <a:extLst>
                <a:ext uri="{FF2B5EF4-FFF2-40B4-BE49-F238E27FC236}">
                  <a16:creationId xmlns:a16="http://schemas.microsoft.com/office/drawing/2014/main" id="{483386CB-EF28-1391-4634-EE25DD8C5C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16" r="-1"/>
            <a:stretch/>
          </p:blipFill>
          <p:spPr bwMode="auto">
            <a:xfrm>
              <a:off x="142236" y="4254794"/>
              <a:ext cx="1283748" cy="1358685"/>
            </a:xfrm>
            <a:prstGeom prst="rect">
              <a:avLst/>
            </a:prstGeom>
            <a:grpFill/>
          </p:spPr>
        </p:pic>
        <p:pic>
          <p:nvPicPr>
            <p:cNvPr id="1032" name="Picture 8" descr="Antony Crudgington Team Photo">
              <a:extLst>
                <a:ext uri="{FF2B5EF4-FFF2-40B4-BE49-F238E27FC236}">
                  <a16:creationId xmlns:a16="http://schemas.microsoft.com/office/drawing/2014/main" id="{C0758C50-1EC6-E658-7A7F-0ADA0FA46F9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54"/>
            <a:stretch/>
          </p:blipFill>
          <p:spPr bwMode="auto">
            <a:xfrm>
              <a:off x="1380032" y="4254570"/>
              <a:ext cx="936645" cy="872446"/>
            </a:xfrm>
            <a:prstGeom prst="rect">
              <a:avLst/>
            </a:prstGeom>
            <a:grpFill/>
          </p:spPr>
        </p:pic>
        <p:pic>
          <p:nvPicPr>
            <p:cNvPr id="1036" name="Picture 12" descr="Bogdan Busmachin">
              <a:extLst>
                <a:ext uri="{FF2B5EF4-FFF2-40B4-BE49-F238E27FC236}">
                  <a16:creationId xmlns:a16="http://schemas.microsoft.com/office/drawing/2014/main" id="{F2B27B17-0FD1-AB5D-CF9E-9AE0523BD0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87"/>
            <a:stretch/>
          </p:blipFill>
          <p:spPr bwMode="auto">
            <a:xfrm>
              <a:off x="3497353" y="3262141"/>
              <a:ext cx="1350647" cy="1471087"/>
            </a:xfrm>
            <a:prstGeom prst="rect">
              <a:avLst/>
            </a:prstGeom>
            <a:grpFill/>
          </p:spPr>
        </p:pic>
        <p:pic>
          <p:nvPicPr>
            <p:cNvPr id="1038" name="Picture 14" descr="Casey Keller">
              <a:extLst>
                <a:ext uri="{FF2B5EF4-FFF2-40B4-BE49-F238E27FC236}">
                  <a16:creationId xmlns:a16="http://schemas.microsoft.com/office/drawing/2014/main" id="{F6F16931-5398-39E7-B3FB-C842A792DA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8822" y="3277923"/>
              <a:ext cx="963393" cy="963393"/>
            </a:xfrm>
            <a:prstGeom prst="rect">
              <a:avLst/>
            </a:prstGeom>
            <a:grpFill/>
          </p:spPr>
        </p:pic>
        <p:pic>
          <p:nvPicPr>
            <p:cNvPr id="1040" name="Picture 16" descr="Chris Dalton">
              <a:extLst>
                <a:ext uri="{FF2B5EF4-FFF2-40B4-BE49-F238E27FC236}">
                  <a16:creationId xmlns:a16="http://schemas.microsoft.com/office/drawing/2014/main" id="{90194CBA-3C9F-F4EF-8D99-0446CA83D3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262" y="4934136"/>
              <a:ext cx="1597617" cy="1597617"/>
            </a:xfrm>
            <a:prstGeom prst="rect">
              <a:avLst/>
            </a:prstGeom>
            <a:grpFill/>
          </p:spPr>
        </p:pic>
        <p:pic>
          <p:nvPicPr>
            <p:cNvPr id="1042" name="Picture 18" descr="Hugo Marinho">
              <a:extLst>
                <a:ext uri="{FF2B5EF4-FFF2-40B4-BE49-F238E27FC236}">
                  <a16:creationId xmlns:a16="http://schemas.microsoft.com/office/drawing/2014/main" id="{A9319169-206C-624A-2FD9-D8390D8AE9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898" y="3932614"/>
              <a:ext cx="1250309" cy="1250309"/>
            </a:xfrm>
            <a:prstGeom prst="rect">
              <a:avLst/>
            </a:prstGeom>
            <a:grpFill/>
          </p:spPr>
        </p:pic>
        <p:pic>
          <p:nvPicPr>
            <p:cNvPr id="1046" name="Picture 22" descr="Liviu Barbat Team Photo">
              <a:extLst>
                <a:ext uri="{FF2B5EF4-FFF2-40B4-BE49-F238E27FC236}">
                  <a16:creationId xmlns:a16="http://schemas.microsoft.com/office/drawing/2014/main" id="{0A76C835-9205-6932-9AEB-DE1F161BF1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96"/>
            <a:stretch/>
          </p:blipFill>
          <p:spPr bwMode="auto">
            <a:xfrm>
              <a:off x="143583" y="3291400"/>
              <a:ext cx="915477" cy="963393"/>
            </a:xfrm>
            <a:prstGeom prst="rect">
              <a:avLst/>
            </a:prstGeom>
            <a:grpFill/>
          </p:spPr>
        </p:pic>
        <p:pic>
          <p:nvPicPr>
            <p:cNvPr id="1050" name="Picture 26" descr="Kristee Liu">
              <a:extLst>
                <a:ext uri="{FF2B5EF4-FFF2-40B4-BE49-F238E27FC236}">
                  <a16:creationId xmlns:a16="http://schemas.microsoft.com/office/drawing/2014/main" id="{095A0AF2-0152-4397-BC1B-68CB5F50A0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65" t="1294" r="1365" b="13211"/>
            <a:stretch/>
          </p:blipFill>
          <p:spPr bwMode="auto">
            <a:xfrm>
              <a:off x="3010310" y="5183147"/>
              <a:ext cx="1601912" cy="1369541"/>
            </a:xfrm>
            <a:prstGeom prst="rect">
              <a:avLst/>
            </a:prstGeom>
            <a:grpFill/>
          </p:spPr>
        </p:pic>
        <p:pic>
          <p:nvPicPr>
            <p:cNvPr id="1054" name="Picture 30" descr="Michael Escamilla Team Photo">
              <a:extLst>
                <a:ext uri="{FF2B5EF4-FFF2-40B4-BE49-F238E27FC236}">
                  <a16:creationId xmlns:a16="http://schemas.microsoft.com/office/drawing/2014/main" id="{E1E90281-1DE0-CF6E-1E33-2DF363F798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2693" y="5706115"/>
              <a:ext cx="846573" cy="846573"/>
            </a:xfrm>
            <a:prstGeom prst="rect">
              <a:avLst/>
            </a:prstGeom>
            <a:grpFill/>
          </p:spPr>
        </p:pic>
        <p:pic>
          <p:nvPicPr>
            <p:cNvPr id="1056" name="Picture 32" descr="Nithin Kumar">
              <a:extLst>
                <a:ext uri="{FF2B5EF4-FFF2-40B4-BE49-F238E27FC236}">
                  <a16:creationId xmlns:a16="http://schemas.microsoft.com/office/drawing/2014/main" id="{3768CB28-5B56-6B45-DFA1-260CE51A93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9492" y="4095595"/>
              <a:ext cx="789015" cy="789015"/>
            </a:xfrm>
            <a:prstGeom prst="rect">
              <a:avLst/>
            </a:prstGeom>
            <a:grpFill/>
          </p:spPr>
        </p:pic>
        <p:pic>
          <p:nvPicPr>
            <p:cNvPr id="1058" name="Picture 34" descr="Peter Carpanzano">
              <a:extLst>
                <a:ext uri="{FF2B5EF4-FFF2-40B4-BE49-F238E27FC236}">
                  <a16:creationId xmlns:a16="http://schemas.microsoft.com/office/drawing/2014/main" id="{635DBDC0-0494-E122-3E8B-314149F175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8351" y="4887136"/>
              <a:ext cx="840785" cy="840785"/>
            </a:xfrm>
            <a:prstGeom prst="rect">
              <a:avLst/>
            </a:prstGeom>
            <a:grpFill/>
          </p:spPr>
        </p:pic>
        <p:pic>
          <p:nvPicPr>
            <p:cNvPr id="1062" name="Picture 38" descr="Vincent Verstraeten Profile Photo">
              <a:extLst>
                <a:ext uri="{FF2B5EF4-FFF2-40B4-BE49-F238E27FC236}">
                  <a16:creationId xmlns:a16="http://schemas.microsoft.com/office/drawing/2014/main" id="{69D4AF91-ED60-1191-80BD-E603DAA73A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96"/>
            <a:stretch/>
          </p:blipFill>
          <p:spPr bwMode="auto">
            <a:xfrm>
              <a:off x="2577814" y="3264668"/>
              <a:ext cx="933858" cy="809991"/>
            </a:xfrm>
            <a:prstGeom prst="rect">
              <a:avLst/>
            </a:prstGeom>
            <a:grpFill/>
          </p:spPr>
        </p:pic>
        <p:pic>
          <p:nvPicPr>
            <p:cNvPr id="1052" name="Picture 28" descr="Melissa McDonald">
              <a:extLst>
                <a:ext uri="{FF2B5EF4-FFF2-40B4-BE49-F238E27FC236}">
                  <a16:creationId xmlns:a16="http://schemas.microsoft.com/office/drawing/2014/main" id="{4F6C58F3-4B45-4BD8-FAB1-9CBD1FE7B3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9590" y="4580521"/>
              <a:ext cx="812705" cy="812705"/>
            </a:xfrm>
            <a:prstGeom prst="rect">
              <a:avLst/>
            </a:prstGeom>
            <a:grpFill/>
          </p:spPr>
        </p:pic>
        <p:pic>
          <p:nvPicPr>
            <p:cNvPr id="1064" name="Picture 40" descr="Wes Mitchell">
              <a:extLst>
                <a:ext uri="{FF2B5EF4-FFF2-40B4-BE49-F238E27FC236}">
                  <a16:creationId xmlns:a16="http://schemas.microsoft.com/office/drawing/2014/main" id="{85342CDF-8C9D-1606-1DCD-CD5CAD5E6E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02"/>
            <a:stretch/>
          </p:blipFill>
          <p:spPr bwMode="auto">
            <a:xfrm>
              <a:off x="142236" y="5134036"/>
              <a:ext cx="1285170" cy="1371600"/>
            </a:xfrm>
            <a:prstGeom prst="rect">
              <a:avLst/>
            </a:prstGeom>
            <a:grpFill/>
          </p:spPr>
        </p:pic>
        <p:pic>
          <p:nvPicPr>
            <p:cNvPr id="1060" name="Picture 36" descr="Spencer Cruz Team Photo">
              <a:extLst>
                <a:ext uri="{FF2B5EF4-FFF2-40B4-BE49-F238E27FC236}">
                  <a16:creationId xmlns:a16="http://schemas.microsoft.com/office/drawing/2014/main" id="{E8233AFA-A0F0-625D-51D4-EAD03F85A2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470" t="9692"/>
            <a:stretch/>
          </p:blipFill>
          <p:spPr bwMode="auto">
            <a:xfrm>
              <a:off x="1002632" y="5806582"/>
              <a:ext cx="694184" cy="732964"/>
            </a:xfrm>
            <a:prstGeom prst="rect">
              <a:avLst/>
            </a:prstGeom>
            <a:grpFill/>
          </p:spPr>
        </p:pic>
        <p:pic>
          <p:nvPicPr>
            <p:cNvPr id="1048" name="Picture 24" descr="Keeran Mistry">
              <a:extLst>
                <a:ext uri="{FF2B5EF4-FFF2-40B4-BE49-F238E27FC236}">
                  <a16:creationId xmlns:a16="http://schemas.microsoft.com/office/drawing/2014/main" id="{429ABC01-7E49-2FBE-0844-6DB0715FE9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7773"/>
            <a:stretch/>
          </p:blipFill>
          <p:spPr bwMode="auto">
            <a:xfrm>
              <a:off x="4041438" y="5670223"/>
              <a:ext cx="805215" cy="873071"/>
            </a:xfrm>
            <a:prstGeom prst="rect">
              <a:avLst/>
            </a:prstGeom>
            <a:grpFill/>
          </p:spPr>
        </p:pic>
        <p:pic>
          <p:nvPicPr>
            <p:cNvPr id="1066" name="Picture 42">
              <a:extLst>
                <a:ext uri="{FF2B5EF4-FFF2-40B4-BE49-F238E27FC236}">
                  <a16:creationId xmlns:a16="http://schemas.microsoft.com/office/drawing/2014/main" id="{0C7EA271-A275-7F65-2A8B-39C69AC916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609" t="13836" r="18521" b="22051"/>
            <a:stretch/>
          </p:blipFill>
          <p:spPr bwMode="auto">
            <a:xfrm>
              <a:off x="1092669" y="4692246"/>
              <a:ext cx="570209" cy="600587"/>
            </a:xfrm>
            <a:prstGeom prst="rect">
              <a:avLst/>
            </a:prstGeom>
            <a:grpFill/>
          </p:spPr>
        </p:pic>
      </p:grp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DE3ED5FE-7BCD-5BAD-6019-CA9351607047}"/>
              </a:ext>
            </a:extLst>
          </p:cNvPr>
          <p:cNvSpPr/>
          <p:nvPr/>
        </p:nvSpPr>
        <p:spPr>
          <a:xfrm>
            <a:off x="7621362" y="769225"/>
            <a:ext cx="4029667" cy="2783013"/>
          </a:xfrm>
          <a:prstGeom prst="roundRect">
            <a:avLst>
              <a:gd name="adj" fmla="val 4913"/>
            </a:avLst>
          </a:prstGeom>
          <a:noFill/>
          <a:ln w="762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65400587-6D28-1384-9649-AF305B065BF8}"/>
              </a:ext>
            </a:extLst>
          </p:cNvPr>
          <p:cNvSpPr/>
          <p:nvPr/>
        </p:nvSpPr>
        <p:spPr>
          <a:xfrm>
            <a:off x="1406335" y="2133093"/>
            <a:ext cx="1579382" cy="1188558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 screenshot of a computer error&#10;&#10;AI-generated content may be incorrect.">
            <a:extLst>
              <a:ext uri="{FF2B5EF4-FFF2-40B4-BE49-F238E27FC236}">
                <a16:creationId xmlns:a16="http://schemas.microsoft.com/office/drawing/2014/main" id="{AF5125DA-FDFE-FBC3-12B6-63F89DEAF5D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5219" y="2204652"/>
            <a:ext cx="1268472" cy="1072668"/>
          </a:xfrm>
          <a:prstGeom prst="rect">
            <a:avLst/>
          </a:prstGeom>
        </p:spPr>
      </p:pic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C87544F-E292-C99C-AC8B-09C44DAF9B2A}"/>
              </a:ext>
            </a:extLst>
          </p:cNvPr>
          <p:cNvSpPr/>
          <p:nvPr/>
        </p:nvSpPr>
        <p:spPr>
          <a:xfrm>
            <a:off x="1400279" y="3422942"/>
            <a:ext cx="1579382" cy="647385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screenshot of a cell phone&#10;&#10;AI-generated content may be incorrect.">
            <a:extLst>
              <a:ext uri="{FF2B5EF4-FFF2-40B4-BE49-F238E27FC236}">
                <a16:creationId xmlns:a16="http://schemas.microsoft.com/office/drawing/2014/main" id="{219D4D52-E8E1-E15B-57C1-365D454210F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240" y="3481812"/>
            <a:ext cx="1136170" cy="554132"/>
          </a:xfrm>
          <a:prstGeom prst="rect">
            <a:avLst/>
          </a:prstGeom>
        </p:spPr>
      </p:pic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9A23A63E-3710-39CD-8815-05137CD4DD3C}"/>
              </a:ext>
            </a:extLst>
          </p:cNvPr>
          <p:cNvSpPr/>
          <p:nvPr/>
        </p:nvSpPr>
        <p:spPr>
          <a:xfrm>
            <a:off x="1400279" y="4171619"/>
            <a:ext cx="1579382" cy="1358478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 descr="A screenshot of a phone&#10;&#10;AI-generated content may be incorrect.">
            <a:extLst>
              <a:ext uri="{FF2B5EF4-FFF2-40B4-BE49-F238E27FC236}">
                <a16:creationId xmlns:a16="http://schemas.microsoft.com/office/drawing/2014/main" id="{35528756-983B-C9AE-52D3-924AAC895C4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623" y="4252352"/>
            <a:ext cx="1195985" cy="1246342"/>
          </a:xfrm>
          <a:prstGeom prst="rect">
            <a:avLst/>
          </a:prstGeom>
        </p:spPr>
      </p:pic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EB013450-F453-D147-4005-E1699697410A}"/>
              </a:ext>
            </a:extLst>
          </p:cNvPr>
          <p:cNvSpPr/>
          <p:nvPr/>
        </p:nvSpPr>
        <p:spPr>
          <a:xfrm>
            <a:off x="3215955" y="2133092"/>
            <a:ext cx="1579382" cy="1570007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FABC0D93-7557-CAB0-C3B5-D35D29177270}"/>
              </a:ext>
            </a:extLst>
          </p:cNvPr>
          <p:cNvSpPr/>
          <p:nvPr/>
        </p:nvSpPr>
        <p:spPr>
          <a:xfrm>
            <a:off x="3209898" y="3804451"/>
            <a:ext cx="1579382" cy="974766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0496646B-A58C-701C-00A2-E6BF349D3C54}"/>
              </a:ext>
            </a:extLst>
          </p:cNvPr>
          <p:cNvSpPr/>
          <p:nvPr/>
        </p:nvSpPr>
        <p:spPr>
          <a:xfrm>
            <a:off x="3209899" y="4899006"/>
            <a:ext cx="1579382" cy="631090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 descr="A screenshot of a phone&#10;&#10;AI-generated content may be incorrect.">
            <a:extLst>
              <a:ext uri="{FF2B5EF4-FFF2-40B4-BE49-F238E27FC236}">
                <a16:creationId xmlns:a16="http://schemas.microsoft.com/office/drawing/2014/main" id="{4C42F51A-67D0-B220-A5F5-08C4245316C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995" y="2204652"/>
            <a:ext cx="1170937" cy="1439539"/>
          </a:xfrm>
          <a:prstGeom prst="rect">
            <a:avLst/>
          </a:prstGeom>
        </p:spPr>
      </p:pic>
      <p:pic>
        <p:nvPicPr>
          <p:cNvPr id="46" name="Picture 4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A2E1C7F-C1DE-036D-9589-61990EA6854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347" y="3894044"/>
            <a:ext cx="1174750" cy="852843"/>
          </a:xfrm>
          <a:prstGeom prst="rect">
            <a:avLst/>
          </a:prstGeom>
        </p:spPr>
      </p:pic>
      <p:pic>
        <p:nvPicPr>
          <p:cNvPr id="48" name="Picture 47" descr="A screenshot of a phone&#10;&#10;AI-generated content may be incorrect.">
            <a:extLst>
              <a:ext uri="{FF2B5EF4-FFF2-40B4-BE49-F238E27FC236}">
                <a16:creationId xmlns:a16="http://schemas.microsoft.com/office/drawing/2014/main" id="{7B2FF9A9-CB5F-A512-72A5-CE8DB7E7071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978" y="4943894"/>
            <a:ext cx="1078923" cy="541341"/>
          </a:xfrm>
          <a:prstGeom prst="rect">
            <a:avLst/>
          </a:prstGeom>
        </p:spPr>
      </p:pic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8EEF1155-0F35-9F20-F0D1-9E51573F918F}"/>
              </a:ext>
            </a:extLst>
          </p:cNvPr>
          <p:cNvSpPr/>
          <p:nvPr/>
        </p:nvSpPr>
        <p:spPr>
          <a:xfrm>
            <a:off x="5038387" y="2133092"/>
            <a:ext cx="1579382" cy="1770625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110657B2-B10E-ECF2-31A0-8E3E3F4331FC}"/>
              </a:ext>
            </a:extLst>
          </p:cNvPr>
          <p:cNvSpPr/>
          <p:nvPr/>
        </p:nvSpPr>
        <p:spPr>
          <a:xfrm>
            <a:off x="5032330" y="3999768"/>
            <a:ext cx="1579382" cy="899238"/>
          </a:xfrm>
          <a:prstGeom prst="roundRect">
            <a:avLst>
              <a:gd name="adj" fmla="val 6280"/>
            </a:avLst>
          </a:prstGeom>
          <a:solidFill>
            <a:srgbClr val="F5F5F5"/>
          </a:solidFill>
          <a:ln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3" name="Picture 52" descr="A screenshot of a phone&#10;&#10;AI-generated content may be incorrect.">
            <a:extLst>
              <a:ext uri="{FF2B5EF4-FFF2-40B4-BE49-F238E27FC236}">
                <a16:creationId xmlns:a16="http://schemas.microsoft.com/office/drawing/2014/main" id="{ACB4420A-5B23-2E7C-08E2-9D2CCC5A5CC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299" y="2197175"/>
            <a:ext cx="1273626" cy="1675823"/>
          </a:xfrm>
          <a:prstGeom prst="rect">
            <a:avLst/>
          </a:prstGeom>
        </p:spPr>
      </p:pic>
      <p:pic>
        <p:nvPicPr>
          <p:cNvPr id="55" name="Picture 5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9A28AAF-C54D-7C6B-1FFB-BCA61AFEBE6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93" y="4054884"/>
            <a:ext cx="1238638" cy="806859"/>
          </a:xfrm>
          <a:prstGeom prst="rect">
            <a:avLst/>
          </a:prstGeom>
        </p:spPr>
      </p:pic>
      <p:sp>
        <p:nvSpPr>
          <p:cNvPr id="61" name="Rechthoek: afgeronde hoeken 2">
            <a:extLst>
              <a:ext uri="{FF2B5EF4-FFF2-40B4-BE49-F238E27FC236}">
                <a16:creationId xmlns:a16="http://schemas.microsoft.com/office/drawing/2014/main" id="{FDCF4932-54B5-158C-7F44-57425AAC7525}"/>
              </a:ext>
            </a:extLst>
          </p:cNvPr>
          <p:cNvSpPr/>
          <p:nvPr/>
        </p:nvSpPr>
        <p:spPr>
          <a:xfrm>
            <a:off x="5032330" y="5087485"/>
            <a:ext cx="1579382" cy="442611"/>
          </a:xfrm>
          <a:prstGeom prst="roundRect">
            <a:avLst>
              <a:gd name="adj" fmla="val 6151"/>
            </a:avLst>
          </a:prstGeom>
          <a:solidFill>
            <a:schemeClr val="accent4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2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237243-4864-92BB-D459-D8BC05F6BF0A}"/>
              </a:ext>
            </a:extLst>
          </p:cNvPr>
          <p:cNvSpPr txBox="1"/>
          <p:nvPr/>
        </p:nvSpPr>
        <p:spPr>
          <a:xfrm>
            <a:off x="5032330" y="5160460"/>
            <a:ext cx="15793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hlinkClick r:id="rId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all reviews</a:t>
            </a:r>
            <a:endParaRPr lang="en-US" sz="1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84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" presetClass="emph" presetSubtype="0" autoRev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5" dur="300" fill="hold"/>
                                        <p:tgtEl>
                                          <p:spTgt spid="10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20425-5361-CAA0-CAB0-641EEA3777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!!BG">
            <a:extLst>
              <a:ext uri="{FF2B5EF4-FFF2-40B4-BE49-F238E27FC236}">
                <a16:creationId xmlns:a16="http://schemas.microsoft.com/office/drawing/2014/main" id="{550F303A-1EFF-1526-D298-A486C76B29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0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B0501A2-FB53-25E3-50AF-252CEEB56471}"/>
              </a:ext>
            </a:extLst>
          </p:cNvPr>
          <p:cNvSpPr txBox="1"/>
          <p:nvPr/>
        </p:nvSpPr>
        <p:spPr>
          <a:xfrm>
            <a:off x="666634" y="977306"/>
            <a:ext cx="4692869" cy="17543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+mj-lt"/>
              </a:rPr>
              <a:t>Patch My PC</a:t>
            </a:r>
            <a:r>
              <a:rPr lang="en-US" sz="5400" b="1">
                <a:solidFill>
                  <a:schemeClr val="bg2"/>
                </a:solidFill>
                <a:latin typeface="+mj-lt"/>
              </a:rPr>
              <a:t> Cloud</a:t>
            </a:r>
            <a:endParaRPr lang="en-US" sz="540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C18000-53EE-9EAE-003C-70F6F8BF7F99}"/>
              </a:ext>
            </a:extLst>
          </p:cNvPr>
          <p:cNvGrpSpPr/>
          <p:nvPr/>
        </p:nvGrpSpPr>
        <p:grpSpPr>
          <a:xfrm>
            <a:off x="5475793" y="1069396"/>
            <a:ext cx="6242591" cy="4393373"/>
            <a:chOff x="628607" y="2147514"/>
            <a:chExt cx="5894113" cy="4148123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2A9F910-A681-0017-B737-3B7C547C8938}"/>
                </a:ext>
              </a:extLst>
            </p:cNvPr>
            <p:cNvSpPr/>
            <p:nvPr/>
          </p:nvSpPr>
          <p:spPr>
            <a:xfrm>
              <a:off x="628607" y="2147514"/>
              <a:ext cx="5894113" cy="4148123"/>
            </a:xfrm>
            <a:prstGeom prst="roundRect">
              <a:avLst>
                <a:gd name="adj" fmla="val 7049"/>
              </a:avLst>
            </a:prstGeom>
            <a:solidFill>
              <a:srgbClr val="006094">
                <a:alpha val="9804"/>
              </a:srgb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4F22E5F-E501-6654-E49A-8A50C617B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5980" y="2317532"/>
              <a:ext cx="5481329" cy="3792487"/>
            </a:xfrm>
            <a:prstGeom prst="rect">
              <a:avLst/>
            </a:prstGeom>
          </p:spPr>
        </p:pic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0D681227-312C-7340-9B30-B97E31969F23}"/>
                </a:ext>
              </a:extLst>
            </p:cNvPr>
            <p:cNvSpPr/>
            <p:nvPr/>
          </p:nvSpPr>
          <p:spPr>
            <a:xfrm>
              <a:off x="794335" y="2282123"/>
              <a:ext cx="5572362" cy="3848445"/>
            </a:xfrm>
            <a:prstGeom prst="roundRect">
              <a:avLst>
                <a:gd name="adj" fmla="val 4913"/>
              </a:avLst>
            </a:prstGeom>
            <a:noFill/>
            <a:ln w="127000">
              <a:gradFill flip="none" rotWithShape="1">
                <a:gsLst>
                  <a:gs pos="42000">
                    <a:srgbClr val="003F61"/>
                  </a:gs>
                  <a:gs pos="0">
                    <a:srgbClr val="006094"/>
                  </a:gs>
                  <a:gs pos="81000">
                    <a:srgbClr val="006094"/>
                  </a:gs>
                  <a:gs pos="100000">
                    <a:srgbClr val="003F61"/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DF53BE4-EF47-361F-0A2B-104D69D27BAF}"/>
              </a:ext>
            </a:extLst>
          </p:cNvPr>
          <p:cNvSpPr txBox="1"/>
          <p:nvPr/>
        </p:nvSpPr>
        <p:spPr>
          <a:xfrm>
            <a:off x="718340" y="5170730"/>
            <a:ext cx="29240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Best choice for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D22C8-98B1-89BD-CCD8-5EF278326CB3}"/>
              </a:ext>
            </a:extLst>
          </p:cNvPr>
          <p:cNvSpPr txBox="1"/>
          <p:nvPr/>
        </p:nvSpPr>
        <p:spPr>
          <a:xfrm>
            <a:off x="718340" y="5542140"/>
            <a:ext cx="3071675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Intune only environments</a:t>
            </a:r>
            <a:endParaRPr lang="en-US" sz="1600">
              <a:solidFill>
                <a:schemeClr val="bg2"/>
              </a:solidFill>
              <a:cs typeface="Poppin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15E511-F293-644B-9D34-426245C89899}"/>
              </a:ext>
            </a:extLst>
          </p:cNvPr>
          <p:cNvCxnSpPr>
            <a:cxnSpLocks/>
          </p:cNvCxnSpPr>
          <p:nvPr/>
        </p:nvCxnSpPr>
        <p:spPr>
          <a:xfrm>
            <a:off x="830100" y="4930951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3B3226A-4101-5DA2-1274-CAA288FF6D7E}"/>
              </a:ext>
            </a:extLst>
          </p:cNvPr>
          <p:cNvSpPr txBox="1"/>
          <p:nvPr/>
        </p:nvSpPr>
        <p:spPr>
          <a:xfrm>
            <a:off x="718340" y="2771739"/>
            <a:ext cx="4592205" cy="132343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is a powerful SaaS solution for managing third-party apps &amp; updates in Intune for your enterprise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7498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A9046-E6E7-9FB2-2581-FACA6CF1C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hoek 10">
            <a:extLst>
              <a:ext uri="{FF2B5EF4-FFF2-40B4-BE49-F238E27FC236}">
                <a16:creationId xmlns:a16="http://schemas.microsoft.com/office/drawing/2014/main" id="{D887BC46-E568-3CE3-72D7-74E4F8E50D14}"/>
              </a:ext>
            </a:extLst>
          </p:cNvPr>
          <p:cNvSpPr/>
          <p:nvPr/>
        </p:nvSpPr>
        <p:spPr>
          <a:xfrm rot="10800000">
            <a:off x="16710" y="-55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006094">
                  <a:alpha val="72000"/>
                </a:srgbClr>
              </a:gs>
              <a:gs pos="52000">
                <a:srgbClr val="15152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1D3D66-B0C9-8F02-3911-62BF44609948}"/>
              </a:ext>
            </a:extLst>
          </p:cNvPr>
          <p:cNvSpPr txBox="1"/>
          <p:nvPr/>
        </p:nvSpPr>
        <p:spPr>
          <a:xfrm>
            <a:off x="-10204" y="427893"/>
            <a:ext cx="12183652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4800" b="1">
                <a:solidFill>
                  <a:schemeClr val="bg1"/>
                </a:solidFill>
                <a:latin typeface="+mj-lt"/>
              </a:rPr>
              <a:t>Patch My PC </a:t>
            </a:r>
            <a:r>
              <a:rPr lang="en-US" sz="4800" b="1">
                <a:solidFill>
                  <a:schemeClr val="bg2"/>
                </a:solidFill>
                <a:latin typeface="+mj-lt"/>
              </a:rPr>
              <a:t>Cloud </a:t>
            </a:r>
            <a:endParaRPr lang="en-US" sz="48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B983F2-7ACF-769A-8B5B-AFE4DBDCE888}"/>
              </a:ext>
            </a:extLst>
          </p:cNvPr>
          <p:cNvSpPr txBox="1"/>
          <p:nvPr/>
        </p:nvSpPr>
        <p:spPr>
          <a:xfrm>
            <a:off x="-6154" y="1834096"/>
            <a:ext cx="12204308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Primarily designed for customers using Intune</a:t>
            </a:r>
            <a:endParaRPr lang="en-US" sz="200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9A92CA1-83A8-ABDE-27C3-24238276CE36}"/>
              </a:ext>
            </a:extLst>
          </p:cNvPr>
          <p:cNvGrpSpPr/>
          <p:nvPr/>
        </p:nvGrpSpPr>
        <p:grpSpPr>
          <a:xfrm>
            <a:off x="1417203" y="3061997"/>
            <a:ext cx="4289274" cy="1969855"/>
            <a:chOff x="2421086" y="4297180"/>
            <a:chExt cx="4289274" cy="1969855"/>
          </a:xfrm>
        </p:grpSpPr>
        <p:sp>
          <p:nvSpPr>
            <p:cNvPr id="5" name="Rechthoek: afgeronde hoeken 60">
              <a:extLst>
                <a:ext uri="{FF2B5EF4-FFF2-40B4-BE49-F238E27FC236}">
                  <a16:creationId xmlns:a16="http://schemas.microsoft.com/office/drawing/2014/main" id="{17F284E3-97A0-5AA0-A4B4-21D82FB2ADA4}"/>
                </a:ext>
              </a:extLst>
            </p:cNvPr>
            <p:cNvSpPr/>
            <p:nvPr/>
          </p:nvSpPr>
          <p:spPr>
            <a:xfrm>
              <a:off x="2421086" y="4297180"/>
              <a:ext cx="4121088" cy="1813811"/>
            </a:xfrm>
            <a:prstGeom prst="roundRect">
              <a:avLst>
                <a:gd name="adj" fmla="val 6160"/>
              </a:avLst>
            </a:prstGeom>
            <a:solidFill>
              <a:srgbClr val="003F6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600"/>
            </a:p>
          </p:txBody>
        </p:sp>
        <p:sp>
          <p:nvSpPr>
            <p:cNvPr id="6" name="Rechthoek: afgeronde hoeken 61">
              <a:extLst>
                <a:ext uri="{FF2B5EF4-FFF2-40B4-BE49-F238E27FC236}">
                  <a16:creationId xmlns:a16="http://schemas.microsoft.com/office/drawing/2014/main" id="{E467C08A-1AF4-4AA5-BC7B-F3AA2F932067}"/>
                </a:ext>
              </a:extLst>
            </p:cNvPr>
            <p:cNvSpPr/>
            <p:nvPr/>
          </p:nvSpPr>
          <p:spPr>
            <a:xfrm>
              <a:off x="2693350" y="4592576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6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4D0CFBA-5761-ADAA-8D85-4C27AD036174}"/>
                </a:ext>
              </a:extLst>
            </p:cNvPr>
            <p:cNvSpPr txBox="1"/>
            <p:nvPr/>
          </p:nvSpPr>
          <p:spPr>
            <a:xfrm>
              <a:off x="2640795" y="4525129"/>
              <a:ext cx="3752478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b="1">
                  <a:solidFill>
                    <a:schemeClr val="bg2"/>
                  </a:solidFill>
                </a:rPr>
                <a:t>Patch My PC Cloud </a:t>
              </a:r>
              <a:r>
                <a:rPr lang="en-US" sz="1400">
                  <a:solidFill>
                    <a:schemeClr val="bg1"/>
                  </a:solidFill>
                </a:rPr>
                <a:t>automates the packaging, deployment, and updating </a:t>
              </a:r>
              <a:r>
                <a:rPr lang="en-US" sz="1400" spc="-30">
                  <a:solidFill>
                    <a:schemeClr val="bg1"/>
                  </a:solidFill>
                </a:rPr>
                <a:t>of thousands of third-party applications </a:t>
              </a:r>
              <a:r>
                <a:rPr lang="en-US" sz="1400">
                  <a:solidFill>
                    <a:schemeClr val="bg1"/>
                  </a:solidFill>
                </a:rPr>
                <a:t>across devices, ensuring security, compliance, and consistency with minimal IT effort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CB9BC30-995E-D33F-A274-E1AC8E39DD07}"/>
              </a:ext>
            </a:extLst>
          </p:cNvPr>
          <p:cNvGrpSpPr/>
          <p:nvPr/>
        </p:nvGrpSpPr>
        <p:grpSpPr>
          <a:xfrm>
            <a:off x="6354253" y="3061997"/>
            <a:ext cx="4289274" cy="1969855"/>
            <a:chOff x="6484741" y="1930881"/>
            <a:chExt cx="4289274" cy="1969855"/>
          </a:xfrm>
        </p:grpSpPr>
        <p:sp>
          <p:nvSpPr>
            <p:cNvPr id="9" name="Rechthoek: afgeronde hoeken 60">
              <a:extLst>
                <a:ext uri="{FF2B5EF4-FFF2-40B4-BE49-F238E27FC236}">
                  <a16:creationId xmlns:a16="http://schemas.microsoft.com/office/drawing/2014/main" id="{E22B1714-1E57-96AA-A2A6-52DBFC5AAE73}"/>
                </a:ext>
              </a:extLst>
            </p:cNvPr>
            <p:cNvSpPr/>
            <p:nvPr/>
          </p:nvSpPr>
          <p:spPr>
            <a:xfrm>
              <a:off x="6484741" y="1930881"/>
              <a:ext cx="4121088" cy="1813811"/>
            </a:xfrm>
            <a:prstGeom prst="roundRect">
              <a:avLst>
                <a:gd name="adj" fmla="val 6160"/>
              </a:avLst>
            </a:prstGeom>
            <a:solidFill>
              <a:srgbClr val="003F6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600"/>
            </a:p>
          </p:txBody>
        </p:sp>
        <p:sp>
          <p:nvSpPr>
            <p:cNvPr id="12" name="Rechthoek: afgeronde hoeken 61">
              <a:extLst>
                <a:ext uri="{FF2B5EF4-FFF2-40B4-BE49-F238E27FC236}">
                  <a16:creationId xmlns:a16="http://schemas.microsoft.com/office/drawing/2014/main" id="{8A7FBA9D-C42C-27E4-D114-5B3DC690C8D4}"/>
                </a:ext>
              </a:extLst>
            </p:cNvPr>
            <p:cNvSpPr/>
            <p:nvPr/>
          </p:nvSpPr>
          <p:spPr>
            <a:xfrm>
              <a:off x="6757005" y="2226277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6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03B1E41-441B-241B-EFF4-74D954257E3F}"/>
                </a:ext>
              </a:extLst>
            </p:cNvPr>
            <p:cNvSpPr txBox="1"/>
            <p:nvPr/>
          </p:nvSpPr>
          <p:spPr>
            <a:xfrm>
              <a:off x="6717538" y="2152341"/>
              <a:ext cx="3675642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>
                  <a:solidFill>
                    <a:schemeClr val="bg1"/>
                  </a:solidFill>
                </a:rPr>
                <a:t>While it’s primarily designed for </a:t>
              </a:r>
              <a:r>
                <a:rPr lang="en-US" sz="1400" spc="-30">
                  <a:solidFill>
                    <a:schemeClr val="bg1"/>
                  </a:solidFill>
                </a:rPr>
                <a:t>customers using Intune, </a:t>
              </a:r>
              <a:r>
                <a:rPr lang="en-US" sz="1400" spc="-30" err="1">
                  <a:solidFill>
                    <a:schemeClr val="bg1"/>
                  </a:solidFill>
                </a:rPr>
                <a:t>ConfigMgr</a:t>
              </a:r>
              <a:r>
                <a:rPr lang="en-US" sz="1400" spc="-30">
                  <a:solidFill>
                    <a:schemeClr val="bg1"/>
                  </a:solidFill>
                </a:rPr>
                <a:t> also leverages </a:t>
              </a:r>
              <a:r>
                <a:rPr lang="en-US" sz="1400" b="1" spc="-30">
                  <a:solidFill>
                    <a:schemeClr val="bg2"/>
                  </a:solidFill>
                </a:rPr>
                <a:t>Patch My PC Cloud </a:t>
              </a:r>
              <a:r>
                <a:rPr lang="en-US" sz="1400" spc="-30">
                  <a:solidFill>
                    <a:schemeClr val="bg1"/>
                  </a:solidFill>
                </a:rPr>
                <a:t>to unlock new features and capabilities, bridging </a:t>
              </a:r>
              <a:r>
                <a:rPr lang="en-US" sz="1400">
                  <a:solidFill>
                    <a:schemeClr val="bg1"/>
                  </a:solidFill>
                </a:rPr>
                <a:t>the gap between on-premises and cloud-based managem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68059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6EA74-7694-1DB1-CB6C-E13A71396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!!BG">
            <a:extLst>
              <a:ext uri="{FF2B5EF4-FFF2-40B4-BE49-F238E27FC236}">
                <a16:creationId xmlns:a16="http://schemas.microsoft.com/office/drawing/2014/main" id="{0BD350D2-A6C3-57AC-31BD-C12BD6CE88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V="1">
            <a:off x="-1722" y="-300363"/>
            <a:ext cx="12193722" cy="795922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B4BF777-4DC5-4E01-B6A3-4965026BED53}"/>
              </a:ext>
            </a:extLst>
          </p:cNvPr>
          <p:cNvSpPr txBox="1"/>
          <p:nvPr/>
        </p:nvSpPr>
        <p:spPr>
          <a:xfrm>
            <a:off x="2030694" y="5446013"/>
            <a:ext cx="7917734" cy="9233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Native integration with Intune. Deploy Win32 apps </a:t>
            </a:r>
            <a:r>
              <a:rPr lang="en-US" b="1">
                <a:solidFill>
                  <a:schemeClr val="bg2"/>
                </a:solidFill>
                <a:ea typeface="+mn-lt"/>
                <a:cs typeface="+mn-lt"/>
              </a:rPr>
              <a:t>AND</a:t>
            </a:r>
            <a:r>
              <a:rPr lang="en-US">
                <a:solidFill>
                  <a:schemeClr val="bg1"/>
                </a:solidFill>
              </a:rPr>
              <a:t> </a:t>
            </a:r>
            <a:endParaRPr lang="en-US">
              <a:solidFill>
                <a:schemeClr val="bg1"/>
              </a:solidFill>
              <a:cs typeface="Poppins"/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updates in a way your team are already familiar with. </a:t>
            </a:r>
            <a:endParaRPr lang="en-US">
              <a:solidFill>
                <a:schemeClr val="bg1"/>
              </a:solidFill>
              <a:cs typeface="Poppins"/>
            </a:endParaRPr>
          </a:p>
          <a:p>
            <a:pPr algn="ctr"/>
            <a:r>
              <a:rPr lang="en-US" i="1">
                <a:solidFill>
                  <a:schemeClr val="bg1"/>
                </a:solidFill>
              </a:rPr>
              <a:t>No need to upskill on a new deployment tool</a:t>
            </a:r>
            <a:endParaRPr lang="en-US" i="1">
              <a:solidFill>
                <a:schemeClr val="bg1"/>
              </a:solidFill>
              <a:cs typeface="Poppin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C43B7F6-CE60-BE7C-1DDB-EE9236676498}"/>
              </a:ext>
            </a:extLst>
          </p:cNvPr>
          <p:cNvGrpSpPr/>
          <p:nvPr/>
        </p:nvGrpSpPr>
        <p:grpSpPr>
          <a:xfrm>
            <a:off x="1668954" y="1243347"/>
            <a:ext cx="8287249" cy="3974891"/>
            <a:chOff x="1758891" y="1243347"/>
            <a:chExt cx="8287249" cy="3974891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E4591773-5EDD-9183-AEA5-AC3F8C0D81D8}"/>
                </a:ext>
              </a:extLst>
            </p:cNvPr>
            <p:cNvSpPr/>
            <p:nvPr/>
          </p:nvSpPr>
          <p:spPr>
            <a:xfrm>
              <a:off x="1758891" y="1243347"/>
              <a:ext cx="8287249" cy="3974891"/>
            </a:xfrm>
            <a:prstGeom prst="roundRect">
              <a:avLst>
                <a:gd name="adj" fmla="val 7049"/>
              </a:avLst>
            </a:prstGeom>
            <a:solidFill>
              <a:srgbClr val="006094">
                <a:alpha val="9804"/>
              </a:srgb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C1BF5E0-683E-16FA-D254-C40D202DFE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4685" b="11810"/>
            <a:stretch/>
          </p:blipFill>
          <p:spPr>
            <a:xfrm>
              <a:off x="2035230" y="1465128"/>
              <a:ext cx="7733620" cy="3518139"/>
            </a:xfrm>
            <a:prstGeom prst="rect">
              <a:avLst/>
            </a:prstGeom>
          </p:spPr>
        </p:pic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DE5BE04C-87CA-B097-FE90-77DCF3E72304}"/>
                </a:ext>
              </a:extLst>
            </p:cNvPr>
            <p:cNvSpPr/>
            <p:nvPr/>
          </p:nvSpPr>
          <p:spPr>
            <a:xfrm>
              <a:off x="1985086" y="1418234"/>
              <a:ext cx="7834859" cy="3602636"/>
            </a:xfrm>
            <a:prstGeom prst="roundRect">
              <a:avLst>
                <a:gd name="adj" fmla="val 4913"/>
              </a:avLst>
            </a:prstGeom>
            <a:noFill/>
            <a:ln w="127000">
              <a:gradFill flip="none" rotWithShape="1">
                <a:gsLst>
                  <a:gs pos="42000">
                    <a:srgbClr val="003F61"/>
                  </a:gs>
                  <a:gs pos="0">
                    <a:srgbClr val="006094"/>
                  </a:gs>
                  <a:gs pos="81000">
                    <a:srgbClr val="006094"/>
                  </a:gs>
                  <a:gs pos="100000">
                    <a:srgbClr val="003F61"/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DBD415A-8553-7EC6-EA07-A3E239BAE6DB}"/>
              </a:ext>
            </a:extLst>
          </p:cNvPr>
          <p:cNvGrpSpPr/>
          <p:nvPr/>
        </p:nvGrpSpPr>
        <p:grpSpPr>
          <a:xfrm>
            <a:off x="7873905" y="2099604"/>
            <a:ext cx="3537679" cy="2523345"/>
            <a:chOff x="7693384" y="1105105"/>
            <a:chExt cx="3537679" cy="2523345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D5A801D8-522A-2858-3AE2-051D10C4927C}"/>
                </a:ext>
              </a:extLst>
            </p:cNvPr>
            <p:cNvSpPr/>
            <p:nvPr/>
          </p:nvSpPr>
          <p:spPr>
            <a:xfrm>
              <a:off x="7693384" y="1105105"/>
              <a:ext cx="3537679" cy="2523345"/>
            </a:xfrm>
            <a:prstGeom prst="roundRect">
              <a:avLst>
                <a:gd name="adj" fmla="val 9686"/>
              </a:avLst>
            </a:prstGeom>
            <a:solidFill>
              <a:schemeClr val="bg2">
                <a:alpha val="9804"/>
              </a:scheme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9FEE84A-CF44-7B2D-0F0B-ECBCB33BE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b="1110"/>
            <a:stretch/>
          </p:blipFill>
          <p:spPr>
            <a:xfrm>
              <a:off x="7868174" y="1243347"/>
              <a:ext cx="3183565" cy="2226455"/>
            </a:xfrm>
            <a:prstGeom prst="rect">
              <a:avLst/>
            </a:prstGeom>
            <a:ln w="41275">
              <a:noFill/>
            </a:ln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4B20C844-23B4-CD0A-DB77-EF9840D8AD0A}"/>
                </a:ext>
              </a:extLst>
            </p:cNvPr>
            <p:cNvSpPr/>
            <p:nvPr/>
          </p:nvSpPr>
          <p:spPr>
            <a:xfrm>
              <a:off x="7838291" y="1228355"/>
              <a:ext cx="3238434" cy="2251441"/>
            </a:xfrm>
            <a:prstGeom prst="roundRect">
              <a:avLst>
                <a:gd name="adj" fmla="val 6189"/>
              </a:avLst>
            </a:prstGeom>
            <a:noFill/>
            <a:ln w="63500">
              <a:gradFill>
                <a:gsLst>
                  <a:gs pos="0">
                    <a:schemeClr val="bg2"/>
                  </a:gs>
                  <a:gs pos="45000">
                    <a:schemeClr val="bg2"/>
                  </a:gs>
                  <a:gs pos="81000">
                    <a:schemeClr val="bg2">
                      <a:lumMod val="40000"/>
                      <a:lumOff val="60000"/>
                    </a:schemeClr>
                  </a:gs>
                  <a:gs pos="100000">
                    <a:schemeClr val="bg2"/>
                  </a:gs>
                </a:gsLst>
                <a:lin ang="120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ep 1">
            <a:extLst>
              <a:ext uri="{FF2B5EF4-FFF2-40B4-BE49-F238E27FC236}">
                <a16:creationId xmlns:a16="http://schemas.microsoft.com/office/drawing/2014/main" id="{AE2D32AA-DE04-3B9C-AFC6-EEC4FC4D3B49}"/>
              </a:ext>
            </a:extLst>
          </p:cNvPr>
          <p:cNvGrpSpPr/>
          <p:nvPr/>
        </p:nvGrpSpPr>
        <p:grpSpPr>
          <a:xfrm>
            <a:off x="1289287" y="716842"/>
            <a:ext cx="2549541" cy="922920"/>
            <a:chOff x="1477915" y="2805474"/>
            <a:chExt cx="1644636" cy="702427"/>
          </a:xfrm>
        </p:grpSpPr>
        <p:sp>
          <p:nvSpPr>
            <p:cNvPr id="17" name="Rechthoek: afgeronde hoeken 2">
              <a:extLst>
                <a:ext uri="{FF2B5EF4-FFF2-40B4-BE49-F238E27FC236}">
                  <a16:creationId xmlns:a16="http://schemas.microsoft.com/office/drawing/2014/main" id="{9689FE4D-32A3-ED70-A8AA-CF6E0A348C30}"/>
                </a:ext>
              </a:extLst>
            </p:cNvPr>
            <p:cNvSpPr/>
            <p:nvPr/>
          </p:nvSpPr>
          <p:spPr>
            <a:xfrm>
              <a:off x="1477915" y="2805474"/>
              <a:ext cx="1644636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18" name="Tekstvak 3">
              <a:extLst>
                <a:ext uri="{FF2B5EF4-FFF2-40B4-BE49-F238E27FC236}">
                  <a16:creationId xmlns:a16="http://schemas.microsoft.com/office/drawing/2014/main" id="{1E9E57D5-F31D-5508-E15E-DAEC05583AF4}"/>
                </a:ext>
              </a:extLst>
            </p:cNvPr>
            <p:cNvSpPr txBox="1"/>
            <p:nvPr/>
          </p:nvSpPr>
          <p:spPr>
            <a:xfrm>
              <a:off x="1549186" y="2869516"/>
              <a:ext cx="1525016" cy="5771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400" b="1">
                  <a:solidFill>
                    <a:schemeClr val="bg1"/>
                  </a:solidFill>
                </a:rPr>
                <a:t>In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2391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4" dur="3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082DC-712F-6214-BC9A-78CC590B9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!!BG">
            <a:extLst>
              <a:ext uri="{FF2B5EF4-FFF2-40B4-BE49-F238E27FC236}">
                <a16:creationId xmlns:a16="http://schemas.microsoft.com/office/drawing/2014/main" id="{974C4BF7-8AE4-C111-6005-211BF5ADD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0" y="117025"/>
            <a:ext cx="12193722" cy="795922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56D0237-DB33-1E8C-F933-40F472E4E2F6}"/>
              </a:ext>
            </a:extLst>
          </p:cNvPr>
          <p:cNvSpPr txBox="1"/>
          <p:nvPr/>
        </p:nvSpPr>
        <p:spPr>
          <a:xfrm>
            <a:off x="1661992" y="885273"/>
            <a:ext cx="4630399" cy="7694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4400" b="1">
                <a:solidFill>
                  <a:schemeClr val="bg2"/>
                </a:solidFill>
              </a:rPr>
              <a:t>Update Rings</a:t>
            </a:r>
            <a:endParaRPr lang="en-US" sz="3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1700AE-A9D6-5224-5875-D96B86B2FA7F}"/>
              </a:ext>
            </a:extLst>
          </p:cNvPr>
          <p:cNvSpPr txBox="1"/>
          <p:nvPr/>
        </p:nvSpPr>
        <p:spPr>
          <a:xfrm>
            <a:off x="1673686" y="654066"/>
            <a:ext cx="2422358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Feature Spotlight</a:t>
            </a:r>
            <a:endParaRPr lang="en-GB" sz="1600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64EB1D-5E1D-6B62-1775-59966FFB2D8B}"/>
              </a:ext>
            </a:extLst>
          </p:cNvPr>
          <p:cNvGrpSpPr/>
          <p:nvPr/>
        </p:nvGrpSpPr>
        <p:grpSpPr>
          <a:xfrm>
            <a:off x="578986" y="670653"/>
            <a:ext cx="963084" cy="964132"/>
            <a:chOff x="489124" y="485772"/>
            <a:chExt cx="823114" cy="824010"/>
          </a:xfrm>
        </p:grpSpPr>
        <p:sp>
          <p:nvSpPr>
            <p:cNvPr id="21" name="Rechthoek: afgeronde hoeken 7">
              <a:extLst>
                <a:ext uri="{FF2B5EF4-FFF2-40B4-BE49-F238E27FC236}">
                  <a16:creationId xmlns:a16="http://schemas.microsoft.com/office/drawing/2014/main" id="{79461D32-53AF-9652-1C79-C8A8ADABCD6B}"/>
                </a:ext>
              </a:extLst>
            </p:cNvPr>
            <p:cNvSpPr/>
            <p:nvPr/>
          </p:nvSpPr>
          <p:spPr>
            <a:xfrm>
              <a:off x="489124" y="485772"/>
              <a:ext cx="823114" cy="824010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Lights On outline">
              <a:extLst>
                <a:ext uri="{FF2B5EF4-FFF2-40B4-BE49-F238E27FC236}">
                  <a16:creationId xmlns:a16="http://schemas.microsoft.com/office/drawing/2014/main" id="{68AECD7F-C270-1B17-FC6B-4E6E6D308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4090" y="630065"/>
              <a:ext cx="533183" cy="533183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26AAA92-85C9-3604-C2DC-22713A5F26DC}"/>
              </a:ext>
            </a:extLst>
          </p:cNvPr>
          <p:cNvGrpSpPr/>
          <p:nvPr/>
        </p:nvGrpSpPr>
        <p:grpSpPr>
          <a:xfrm>
            <a:off x="380910" y="2143201"/>
            <a:ext cx="5740658" cy="4177466"/>
            <a:chOff x="415040" y="1933730"/>
            <a:chExt cx="5740658" cy="4177466"/>
          </a:xfrm>
        </p:grpSpPr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4763D4CE-1191-AB47-A7A0-273AF135C37E}"/>
                </a:ext>
              </a:extLst>
            </p:cNvPr>
            <p:cNvSpPr/>
            <p:nvPr/>
          </p:nvSpPr>
          <p:spPr>
            <a:xfrm>
              <a:off x="415040" y="1933730"/>
              <a:ext cx="5740658" cy="4177466"/>
            </a:xfrm>
            <a:prstGeom prst="roundRect">
              <a:avLst>
                <a:gd name="adj" fmla="val 7049"/>
              </a:avLst>
            </a:prstGeom>
            <a:solidFill>
              <a:srgbClr val="006094">
                <a:alpha val="9804"/>
              </a:srgb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FBA7D5A-0F97-C69D-FCA8-927B2B185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0012" y="2079954"/>
              <a:ext cx="5303198" cy="3795816"/>
            </a:xfrm>
            <a:prstGeom prst="rect">
              <a:avLst/>
            </a:prstGeom>
          </p:spPr>
        </p:pic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EB79E30D-8811-25B7-06F9-E23AEB03DF5A}"/>
                </a:ext>
              </a:extLst>
            </p:cNvPr>
            <p:cNvSpPr/>
            <p:nvPr/>
          </p:nvSpPr>
          <p:spPr>
            <a:xfrm>
              <a:off x="577438" y="2054009"/>
              <a:ext cx="5427283" cy="3875668"/>
            </a:xfrm>
            <a:prstGeom prst="roundRect">
              <a:avLst>
                <a:gd name="adj" fmla="val 4913"/>
              </a:avLst>
            </a:prstGeom>
            <a:noFill/>
            <a:ln w="127000">
              <a:gradFill flip="none" rotWithShape="1">
                <a:gsLst>
                  <a:gs pos="42000">
                    <a:srgbClr val="003F61"/>
                  </a:gs>
                  <a:gs pos="0">
                    <a:srgbClr val="006094"/>
                  </a:gs>
                  <a:gs pos="81000">
                    <a:srgbClr val="006094"/>
                  </a:gs>
                  <a:gs pos="100000">
                    <a:srgbClr val="003F61"/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" name="Rechthoek: afgeronde hoeken 61">
            <a:extLst>
              <a:ext uri="{FF2B5EF4-FFF2-40B4-BE49-F238E27FC236}">
                <a16:creationId xmlns:a16="http://schemas.microsoft.com/office/drawing/2014/main" id="{60D81937-9D68-EDCF-B45C-CB8C06E2AB63}"/>
              </a:ext>
            </a:extLst>
          </p:cNvPr>
          <p:cNvSpPr/>
          <p:nvPr/>
        </p:nvSpPr>
        <p:spPr>
          <a:xfrm flipH="1" flipV="1">
            <a:off x="6422531" y="2977525"/>
            <a:ext cx="4017010" cy="953074"/>
          </a:xfrm>
          <a:prstGeom prst="roundRect">
            <a:avLst>
              <a:gd name="adj" fmla="val 14685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7" name="Rechthoek: afgeronde hoeken 61">
            <a:extLst>
              <a:ext uri="{FF2B5EF4-FFF2-40B4-BE49-F238E27FC236}">
                <a16:creationId xmlns:a16="http://schemas.microsoft.com/office/drawing/2014/main" id="{06E35F20-A917-4EB9-103F-CD142A07515F}"/>
              </a:ext>
            </a:extLst>
          </p:cNvPr>
          <p:cNvSpPr/>
          <p:nvPr/>
        </p:nvSpPr>
        <p:spPr>
          <a:xfrm flipH="1" flipV="1">
            <a:off x="7132066" y="3991859"/>
            <a:ext cx="4017010" cy="953074"/>
          </a:xfrm>
          <a:prstGeom prst="roundRect">
            <a:avLst>
              <a:gd name="adj" fmla="val 14685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8" name="Rechthoek: afgeronde hoeken 61">
            <a:extLst>
              <a:ext uri="{FF2B5EF4-FFF2-40B4-BE49-F238E27FC236}">
                <a16:creationId xmlns:a16="http://schemas.microsoft.com/office/drawing/2014/main" id="{86643E05-1F04-FB76-847B-9838F646C058}"/>
              </a:ext>
            </a:extLst>
          </p:cNvPr>
          <p:cNvSpPr/>
          <p:nvPr/>
        </p:nvSpPr>
        <p:spPr>
          <a:xfrm flipH="1" flipV="1">
            <a:off x="7896565" y="5121118"/>
            <a:ext cx="4017010" cy="953074"/>
          </a:xfrm>
          <a:prstGeom prst="roundRect">
            <a:avLst>
              <a:gd name="adj" fmla="val 14685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3D3892-98BF-CD95-4FB4-0E97CCE4BCA1}"/>
              </a:ext>
            </a:extLst>
          </p:cNvPr>
          <p:cNvSpPr txBox="1"/>
          <p:nvPr/>
        </p:nvSpPr>
        <p:spPr>
          <a:xfrm>
            <a:off x="6582040" y="3078570"/>
            <a:ext cx="407058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For example, you may want to deploy software to a pilot group of users/devices to ensure it functions as expect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7FCF0E-BDD6-ED82-0FDA-6C4CDF63C66B}"/>
              </a:ext>
            </a:extLst>
          </p:cNvPr>
          <p:cNvSpPr txBox="1"/>
          <p:nvPr/>
        </p:nvSpPr>
        <p:spPr>
          <a:xfrm>
            <a:off x="7249753" y="4098956"/>
            <a:ext cx="413986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Then after a set period, you want to deploy the update to wider group of users/devices or production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648C5A-6AEA-1051-68EE-C588A129CF24}"/>
              </a:ext>
            </a:extLst>
          </p:cNvPr>
          <p:cNvSpPr txBox="1"/>
          <p:nvPr/>
        </p:nvSpPr>
        <p:spPr>
          <a:xfrm>
            <a:off x="8053997" y="5205613"/>
            <a:ext cx="3638332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Update rings gives you the flexibility, control and confidence with your app &amp; update deployments.</a:t>
            </a:r>
            <a:endParaRPr lang="en-US" sz="1400">
              <a:solidFill>
                <a:schemeClr val="bg1"/>
              </a:solidFill>
              <a:cs typeface="Poppins"/>
            </a:endParaRPr>
          </a:p>
        </p:txBody>
      </p:sp>
      <p:sp>
        <p:nvSpPr>
          <p:cNvPr id="31" name="Rechthoek: afgeronde hoeken 60">
            <a:extLst>
              <a:ext uri="{FF2B5EF4-FFF2-40B4-BE49-F238E27FC236}">
                <a16:creationId xmlns:a16="http://schemas.microsoft.com/office/drawing/2014/main" id="{AB95D727-F221-3D26-4DDF-1A0D4063E8BB}"/>
              </a:ext>
            </a:extLst>
          </p:cNvPr>
          <p:cNvSpPr/>
          <p:nvPr/>
        </p:nvSpPr>
        <p:spPr>
          <a:xfrm>
            <a:off x="6360826" y="746669"/>
            <a:ext cx="4951995" cy="1823191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1742BE-C339-D730-DFD8-20E0433D335E}"/>
              </a:ext>
            </a:extLst>
          </p:cNvPr>
          <p:cNvSpPr txBox="1"/>
          <p:nvPr/>
        </p:nvSpPr>
        <p:spPr>
          <a:xfrm>
            <a:off x="6546717" y="700929"/>
            <a:ext cx="4617593" cy="16312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endParaRPr lang="en-US" sz="2000">
              <a:solidFill>
                <a:schemeClr val="bg1"/>
              </a:solidFill>
            </a:endParaRPr>
          </a:p>
          <a:p>
            <a:r>
              <a:rPr lang="en-US" sz="2000">
                <a:solidFill>
                  <a:schemeClr val="bg1"/>
                </a:solidFill>
              </a:rPr>
              <a:t>The Update Rings feature of </a:t>
            </a:r>
            <a:r>
              <a:rPr lang="en-US" sz="2000" b="1">
                <a:solidFill>
                  <a:schemeClr val="bg2"/>
                </a:solidFill>
              </a:rPr>
              <a:t>Patch My PC Cloud </a:t>
            </a:r>
            <a:r>
              <a:rPr lang="en-US" sz="2000">
                <a:solidFill>
                  <a:schemeClr val="bg1"/>
                </a:solidFill>
              </a:rPr>
              <a:t>allows you to deploy apps and updates in a phased manner across your Intune estate.</a:t>
            </a:r>
            <a:endParaRPr 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293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1" grpId="0" animBg="1"/>
      <p:bldP spid="31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6;p24">
            <a:extLst>
              <a:ext uri="{FF2B5EF4-FFF2-40B4-BE49-F238E27FC236}">
                <a16:creationId xmlns:a16="http://schemas.microsoft.com/office/drawing/2014/main" id="{AD0E936D-BB4E-C370-CFCC-845CB9D1C5A9}"/>
              </a:ext>
            </a:extLst>
          </p:cNvPr>
          <p:cNvSpPr/>
          <p:nvPr/>
        </p:nvSpPr>
        <p:spPr>
          <a:xfrm rot="10800000">
            <a:off x="0" y="15401"/>
            <a:ext cx="12192000" cy="6858000"/>
          </a:xfrm>
          <a:prstGeom prst="rect">
            <a:avLst/>
          </a:prstGeom>
          <a:gradFill flip="none" rotWithShape="1">
            <a:gsLst>
              <a:gs pos="55000">
                <a:srgbClr val="151521">
                  <a:lumMod val="98000"/>
                </a:srgbClr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lt1"/>
              </a:solidFill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5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A2FBD826-E9DC-51FA-E874-222715F5642E}"/>
              </a:ext>
            </a:extLst>
          </p:cNvPr>
          <p:cNvPicPr/>
          <p:nvPr/>
        </p:nvPicPr>
        <p:blipFill rotWithShape="1">
          <a:blip r:embed="rId2">
            <a:alphaModFix amt="11000"/>
          </a:blip>
          <a:srcRect l="9834"/>
          <a:stretch/>
        </p:blipFill>
        <p:spPr>
          <a:xfrm>
            <a:off x="0" y="154018"/>
            <a:ext cx="12192000" cy="6805582"/>
          </a:xfrm>
          <a:prstGeom prst="rect">
            <a:avLst/>
          </a:prstGeom>
          <a:noFill/>
          <a:effectLst/>
        </p:spPr>
      </p:pic>
      <p:grpSp>
        <p:nvGrpSpPr>
          <p:cNvPr id="2" name="!!my">
            <a:extLst>
              <a:ext uri="{FF2B5EF4-FFF2-40B4-BE49-F238E27FC236}">
                <a16:creationId xmlns:a16="http://schemas.microsoft.com/office/drawing/2014/main" id="{1AD842EB-03A2-B3F3-2B47-A913C3AAAE59}"/>
              </a:ext>
            </a:extLst>
          </p:cNvPr>
          <p:cNvGrpSpPr/>
          <p:nvPr/>
        </p:nvGrpSpPr>
        <p:grpSpPr>
          <a:xfrm>
            <a:off x="16415637" y="3123183"/>
            <a:ext cx="1615446" cy="611633"/>
            <a:chOff x="7130928" y="2960374"/>
            <a:chExt cx="1615446" cy="611633"/>
          </a:xfr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3" name="Vrije vorm: vorm 2">
              <a:extLst>
                <a:ext uri="{FF2B5EF4-FFF2-40B4-BE49-F238E27FC236}">
                  <a16:creationId xmlns:a16="http://schemas.microsoft.com/office/drawing/2014/main" id="{A5CA1FF0-61F4-08E3-5C36-D9CB656EB554}"/>
                </a:ext>
              </a:extLst>
            </p:cNvPr>
            <p:cNvSpPr/>
            <p:nvPr/>
          </p:nvSpPr>
          <p:spPr>
            <a:xfrm>
              <a:off x="7130928" y="2960374"/>
              <a:ext cx="807723" cy="611524"/>
            </a:xfrm>
            <a:custGeom>
              <a:avLst/>
              <a:gdLst>
                <a:gd name="connsiteX0" fmla="*/ 0 w 807723"/>
                <a:gd name="connsiteY0" fmla="*/ 0 h 611524"/>
                <a:gd name="connsiteX1" fmla="*/ 219564 w 807723"/>
                <a:gd name="connsiteY1" fmla="*/ 0 h 611524"/>
                <a:gd name="connsiteX2" fmla="*/ 407792 w 807723"/>
                <a:gd name="connsiteY2" fmla="*/ 411614 h 611524"/>
                <a:gd name="connsiteX3" fmla="*/ 603881 w 807723"/>
                <a:gd name="connsiteY3" fmla="*/ 0 h 611524"/>
                <a:gd name="connsiteX4" fmla="*/ 807723 w 807723"/>
                <a:gd name="connsiteY4" fmla="*/ 0 h 611524"/>
                <a:gd name="connsiteX5" fmla="*/ 807723 w 807723"/>
                <a:gd name="connsiteY5" fmla="*/ 611525 h 611524"/>
                <a:gd name="connsiteX6" fmla="*/ 647008 w 807723"/>
                <a:gd name="connsiteY6" fmla="*/ 611525 h 611524"/>
                <a:gd name="connsiteX7" fmla="*/ 647008 w 807723"/>
                <a:gd name="connsiteY7" fmla="*/ 207772 h 611524"/>
                <a:gd name="connsiteX8" fmla="*/ 466641 w 807723"/>
                <a:gd name="connsiteY8" fmla="*/ 611525 h 611524"/>
                <a:gd name="connsiteX9" fmla="*/ 337261 w 807723"/>
                <a:gd name="connsiteY9" fmla="*/ 611525 h 611524"/>
                <a:gd name="connsiteX10" fmla="*/ 156893 w 807723"/>
                <a:gd name="connsiteY10" fmla="*/ 207772 h 611524"/>
                <a:gd name="connsiteX11" fmla="*/ 156893 w 807723"/>
                <a:gd name="connsiteY11" fmla="*/ 611525 h 611524"/>
                <a:gd name="connsiteX12" fmla="*/ 109 w 807723"/>
                <a:gd name="connsiteY12" fmla="*/ 611525 h 611524"/>
                <a:gd name="connsiteX13" fmla="*/ 109 w 807723"/>
                <a:gd name="connsiteY13" fmla="*/ 0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7723" h="611524">
                  <a:moveTo>
                    <a:pt x="0" y="0"/>
                  </a:moveTo>
                  <a:lnTo>
                    <a:pt x="219564" y="0"/>
                  </a:lnTo>
                  <a:lnTo>
                    <a:pt x="407792" y="411614"/>
                  </a:lnTo>
                  <a:lnTo>
                    <a:pt x="603881" y="0"/>
                  </a:lnTo>
                  <a:lnTo>
                    <a:pt x="807723" y="0"/>
                  </a:lnTo>
                  <a:lnTo>
                    <a:pt x="807723" y="611525"/>
                  </a:lnTo>
                  <a:lnTo>
                    <a:pt x="647008" y="611525"/>
                  </a:lnTo>
                  <a:lnTo>
                    <a:pt x="647008" y="207772"/>
                  </a:lnTo>
                  <a:lnTo>
                    <a:pt x="466641" y="611525"/>
                  </a:lnTo>
                  <a:lnTo>
                    <a:pt x="337261" y="611525"/>
                  </a:lnTo>
                  <a:lnTo>
                    <a:pt x="156893" y="207772"/>
                  </a:lnTo>
                  <a:lnTo>
                    <a:pt x="156893" y="611525"/>
                  </a:lnTo>
                  <a:lnTo>
                    <a:pt x="109" y="611525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DC2154F2-EF98-7CD1-1EE3-B991FFD3F6D8}"/>
                </a:ext>
              </a:extLst>
            </p:cNvPr>
            <p:cNvSpPr/>
            <p:nvPr/>
          </p:nvSpPr>
          <p:spPr>
            <a:xfrm>
              <a:off x="8005361" y="2960374"/>
              <a:ext cx="741013" cy="611633"/>
            </a:xfrm>
            <a:custGeom>
              <a:avLst/>
              <a:gdLst>
                <a:gd name="connsiteX0" fmla="*/ 294025 w 741013"/>
                <a:gd name="connsiteY0" fmla="*/ 388140 h 611633"/>
                <a:gd name="connsiteX1" fmla="*/ 0 w 741013"/>
                <a:gd name="connsiteY1" fmla="*/ 0 h 611633"/>
                <a:gd name="connsiteX2" fmla="*/ 203841 w 741013"/>
                <a:gd name="connsiteY2" fmla="*/ 0 h 611633"/>
                <a:gd name="connsiteX3" fmla="*/ 380279 w 741013"/>
                <a:gd name="connsiteY3" fmla="*/ 246968 h 611633"/>
                <a:gd name="connsiteX4" fmla="*/ 556715 w 741013"/>
                <a:gd name="connsiteY4" fmla="*/ 0 h 611633"/>
                <a:gd name="connsiteX5" fmla="*/ 741013 w 741013"/>
                <a:gd name="connsiteY5" fmla="*/ 0 h 611633"/>
                <a:gd name="connsiteX6" fmla="*/ 458671 w 741013"/>
                <a:gd name="connsiteY6" fmla="*/ 388140 h 611633"/>
                <a:gd name="connsiteX7" fmla="*/ 458671 w 741013"/>
                <a:gd name="connsiteY7" fmla="*/ 611634 h 611633"/>
                <a:gd name="connsiteX8" fmla="*/ 294025 w 741013"/>
                <a:gd name="connsiteY8" fmla="*/ 611634 h 611633"/>
                <a:gd name="connsiteX9" fmla="*/ 294025 w 741013"/>
                <a:gd name="connsiteY9" fmla="*/ 388140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1013" h="611633">
                  <a:moveTo>
                    <a:pt x="294025" y="388140"/>
                  </a:moveTo>
                  <a:lnTo>
                    <a:pt x="0" y="0"/>
                  </a:lnTo>
                  <a:lnTo>
                    <a:pt x="203841" y="0"/>
                  </a:lnTo>
                  <a:lnTo>
                    <a:pt x="380279" y="246968"/>
                  </a:lnTo>
                  <a:lnTo>
                    <a:pt x="556715" y="0"/>
                  </a:lnTo>
                  <a:lnTo>
                    <a:pt x="741013" y="0"/>
                  </a:lnTo>
                  <a:lnTo>
                    <a:pt x="458671" y="388140"/>
                  </a:lnTo>
                  <a:lnTo>
                    <a:pt x="458671" y="611634"/>
                  </a:lnTo>
                  <a:lnTo>
                    <a:pt x="294025" y="611634"/>
                  </a:lnTo>
                  <a:lnTo>
                    <a:pt x="294025" y="388140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28" name="!!pc">
            <a:extLst>
              <a:ext uri="{FF2B5EF4-FFF2-40B4-BE49-F238E27FC236}">
                <a16:creationId xmlns:a16="http://schemas.microsoft.com/office/drawing/2014/main" id="{B2BCF6FD-C5E5-40E1-4D84-C13EE736F3E7}"/>
              </a:ext>
            </a:extLst>
          </p:cNvPr>
          <p:cNvGrpSpPr/>
          <p:nvPr/>
        </p:nvGrpSpPr>
        <p:grpSpPr>
          <a:xfrm>
            <a:off x="18321178" y="3123183"/>
            <a:ext cx="1442830" cy="611634"/>
            <a:chOff x="9036469" y="2960374"/>
            <a:chExt cx="1442830" cy="611634"/>
          </a:xfr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F227598-C321-4571-13FE-751A41282AE3}"/>
                </a:ext>
              </a:extLst>
            </p:cNvPr>
            <p:cNvSpPr/>
            <p:nvPr/>
          </p:nvSpPr>
          <p:spPr>
            <a:xfrm>
              <a:off x="9036469" y="2960374"/>
              <a:ext cx="643077" cy="611524"/>
            </a:xfrm>
            <a:custGeom>
              <a:avLst/>
              <a:gdLst>
                <a:gd name="connsiteX0" fmla="*/ 164646 w 643077"/>
                <a:gd name="connsiteY0" fmla="*/ 415544 h 611524"/>
                <a:gd name="connsiteX1" fmla="*/ 164646 w 643077"/>
                <a:gd name="connsiteY1" fmla="*/ 611525 h 611524"/>
                <a:gd name="connsiteX2" fmla="*/ 0 w 643077"/>
                <a:gd name="connsiteY2" fmla="*/ 611525 h 611524"/>
                <a:gd name="connsiteX3" fmla="*/ 0 w 643077"/>
                <a:gd name="connsiteY3" fmla="*/ 0 h 611524"/>
                <a:gd name="connsiteX4" fmla="*/ 399931 w 643077"/>
                <a:gd name="connsiteY4" fmla="*/ 0 h 611524"/>
                <a:gd name="connsiteX5" fmla="*/ 643077 w 643077"/>
                <a:gd name="connsiteY5" fmla="*/ 203842 h 611524"/>
                <a:gd name="connsiteX6" fmla="*/ 643077 w 643077"/>
                <a:gd name="connsiteY6" fmla="*/ 211703 h 611524"/>
                <a:gd name="connsiteX7" fmla="*/ 399931 w 643077"/>
                <a:gd name="connsiteY7" fmla="*/ 415544 h 611524"/>
                <a:gd name="connsiteX8" fmla="*/ 164646 w 643077"/>
                <a:gd name="connsiteY8" fmla="*/ 415544 h 611524"/>
                <a:gd name="connsiteX9" fmla="*/ 164646 w 643077"/>
                <a:gd name="connsiteY9" fmla="*/ 282343 h 611524"/>
                <a:gd name="connsiteX10" fmla="*/ 388139 w 643077"/>
                <a:gd name="connsiteY10" fmla="*/ 282343 h 611524"/>
                <a:gd name="connsiteX11" fmla="*/ 474393 w 643077"/>
                <a:gd name="connsiteY11" fmla="*/ 211812 h 611524"/>
                <a:gd name="connsiteX12" fmla="*/ 474393 w 643077"/>
                <a:gd name="connsiteY12" fmla="*/ 207881 h 611524"/>
                <a:gd name="connsiteX13" fmla="*/ 388139 w 643077"/>
                <a:gd name="connsiteY13" fmla="*/ 137350 h 611524"/>
                <a:gd name="connsiteX14" fmla="*/ 164646 w 643077"/>
                <a:gd name="connsiteY14" fmla="*/ 137350 h 611524"/>
                <a:gd name="connsiteX15" fmla="*/ 164646 w 643077"/>
                <a:gd name="connsiteY15" fmla="*/ 282343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3077" h="611524">
                  <a:moveTo>
                    <a:pt x="164646" y="415544"/>
                  </a:moveTo>
                  <a:lnTo>
                    <a:pt x="164646" y="611525"/>
                  </a:lnTo>
                  <a:lnTo>
                    <a:pt x="0" y="611525"/>
                  </a:lnTo>
                  <a:lnTo>
                    <a:pt x="0" y="0"/>
                  </a:lnTo>
                  <a:lnTo>
                    <a:pt x="399931" y="0"/>
                  </a:lnTo>
                  <a:cubicBezTo>
                    <a:pt x="588160" y="0"/>
                    <a:pt x="643077" y="86253"/>
                    <a:pt x="643077" y="203842"/>
                  </a:cubicBezTo>
                  <a:lnTo>
                    <a:pt x="643077" y="211703"/>
                  </a:lnTo>
                  <a:cubicBezTo>
                    <a:pt x="643077" y="329291"/>
                    <a:pt x="584229" y="415544"/>
                    <a:pt x="399931" y="415544"/>
                  </a:cubicBezTo>
                  <a:lnTo>
                    <a:pt x="164646" y="415544"/>
                  </a:lnTo>
                  <a:close/>
                  <a:moveTo>
                    <a:pt x="164646" y="282343"/>
                  </a:moveTo>
                  <a:lnTo>
                    <a:pt x="388139" y="282343"/>
                  </a:lnTo>
                  <a:cubicBezTo>
                    <a:pt x="446988" y="282343"/>
                    <a:pt x="474393" y="258869"/>
                    <a:pt x="474393" y="211812"/>
                  </a:cubicBezTo>
                  <a:lnTo>
                    <a:pt x="474393" y="207881"/>
                  </a:lnTo>
                  <a:cubicBezTo>
                    <a:pt x="474393" y="164755"/>
                    <a:pt x="446988" y="137350"/>
                    <a:pt x="388139" y="137350"/>
                  </a:cubicBezTo>
                  <a:lnTo>
                    <a:pt x="164646" y="137350"/>
                  </a:lnTo>
                  <a:lnTo>
                    <a:pt x="164646" y="282343"/>
                  </a:ln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5FB39C83-30F1-8E7D-95E7-8FFD54132446}"/>
                </a:ext>
              </a:extLst>
            </p:cNvPr>
            <p:cNvSpPr/>
            <p:nvPr/>
          </p:nvSpPr>
          <p:spPr>
            <a:xfrm>
              <a:off x="9765800" y="2960484"/>
              <a:ext cx="713499" cy="611524"/>
            </a:xfrm>
            <a:custGeom>
              <a:avLst/>
              <a:gdLst>
                <a:gd name="connsiteX0" fmla="*/ 345013 w 713499"/>
                <a:gd name="connsiteY0" fmla="*/ 611525 h 611524"/>
                <a:gd name="connsiteX1" fmla="*/ 0 w 713499"/>
                <a:gd name="connsiteY1" fmla="*/ 317499 h 611524"/>
                <a:gd name="connsiteX2" fmla="*/ 0 w 713499"/>
                <a:gd name="connsiteY2" fmla="*/ 294025 h 611524"/>
                <a:gd name="connsiteX3" fmla="*/ 345013 w 713499"/>
                <a:gd name="connsiteY3" fmla="*/ 0 h 611524"/>
                <a:gd name="connsiteX4" fmla="*/ 380279 w 713499"/>
                <a:gd name="connsiteY4" fmla="*/ 0 h 611524"/>
                <a:gd name="connsiteX5" fmla="*/ 713499 w 713499"/>
                <a:gd name="connsiteY5" fmla="*/ 231246 h 611524"/>
                <a:gd name="connsiteX6" fmla="*/ 713499 w 713499"/>
                <a:gd name="connsiteY6" fmla="*/ 235177 h 611524"/>
                <a:gd name="connsiteX7" fmla="*/ 540993 w 713499"/>
                <a:gd name="connsiteY7" fmla="*/ 235177 h 611524"/>
                <a:gd name="connsiteX8" fmla="*/ 360626 w 713499"/>
                <a:gd name="connsiteY8" fmla="*/ 133201 h 611524"/>
                <a:gd name="connsiteX9" fmla="*/ 172397 w 713499"/>
                <a:gd name="connsiteY9" fmla="*/ 293916 h 611524"/>
                <a:gd name="connsiteX10" fmla="*/ 172397 w 713499"/>
                <a:gd name="connsiteY10" fmla="*/ 301777 h 611524"/>
                <a:gd name="connsiteX11" fmla="*/ 360626 w 713499"/>
                <a:gd name="connsiteY11" fmla="*/ 466423 h 611524"/>
                <a:gd name="connsiteX12" fmla="*/ 540993 w 713499"/>
                <a:gd name="connsiteY12" fmla="*/ 364447 h 611524"/>
                <a:gd name="connsiteX13" fmla="*/ 713499 w 713499"/>
                <a:gd name="connsiteY13" fmla="*/ 364447 h 611524"/>
                <a:gd name="connsiteX14" fmla="*/ 713499 w 713499"/>
                <a:gd name="connsiteY14" fmla="*/ 368378 h 611524"/>
                <a:gd name="connsiteX15" fmla="*/ 344904 w 713499"/>
                <a:gd name="connsiteY15" fmla="*/ 611416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3499" h="611524">
                  <a:moveTo>
                    <a:pt x="345013" y="611525"/>
                  </a:moveTo>
                  <a:cubicBezTo>
                    <a:pt x="78392" y="611525"/>
                    <a:pt x="0" y="439018"/>
                    <a:pt x="0" y="317499"/>
                  </a:cubicBezTo>
                  <a:lnTo>
                    <a:pt x="0" y="294025"/>
                  </a:lnTo>
                  <a:cubicBezTo>
                    <a:pt x="0" y="168576"/>
                    <a:pt x="74462" y="0"/>
                    <a:pt x="345013" y="0"/>
                  </a:cubicBezTo>
                  <a:lnTo>
                    <a:pt x="380279" y="0"/>
                  </a:lnTo>
                  <a:cubicBezTo>
                    <a:pt x="627247" y="0"/>
                    <a:pt x="713499" y="121519"/>
                    <a:pt x="713499" y="231246"/>
                  </a:cubicBezTo>
                  <a:lnTo>
                    <a:pt x="713499" y="235177"/>
                  </a:lnTo>
                  <a:lnTo>
                    <a:pt x="540993" y="235177"/>
                  </a:lnTo>
                  <a:cubicBezTo>
                    <a:pt x="537063" y="219454"/>
                    <a:pt x="517520" y="133201"/>
                    <a:pt x="360626" y="133201"/>
                  </a:cubicBezTo>
                  <a:cubicBezTo>
                    <a:pt x="215524" y="133201"/>
                    <a:pt x="172397" y="215524"/>
                    <a:pt x="172397" y="293916"/>
                  </a:cubicBezTo>
                  <a:lnTo>
                    <a:pt x="172397" y="301777"/>
                  </a:lnTo>
                  <a:cubicBezTo>
                    <a:pt x="172397" y="376239"/>
                    <a:pt x="219454" y="466423"/>
                    <a:pt x="360626" y="466423"/>
                  </a:cubicBezTo>
                  <a:cubicBezTo>
                    <a:pt x="517410" y="466423"/>
                    <a:pt x="537063" y="380169"/>
                    <a:pt x="540993" y="364447"/>
                  </a:cubicBezTo>
                  <a:lnTo>
                    <a:pt x="713499" y="364447"/>
                  </a:lnTo>
                  <a:lnTo>
                    <a:pt x="713499" y="368378"/>
                  </a:lnTo>
                  <a:cubicBezTo>
                    <a:pt x="713499" y="493827"/>
                    <a:pt x="619385" y="611416"/>
                    <a:pt x="344904" y="611416"/>
                  </a:cubicBezTo>
                  <a:close/>
                </a:path>
              </a:pathLst>
            </a:custGeom>
            <a:solidFill>
              <a:srgbClr val="0981C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31" name="!!patch">
            <a:extLst>
              <a:ext uri="{FF2B5EF4-FFF2-40B4-BE49-F238E27FC236}">
                <a16:creationId xmlns:a16="http://schemas.microsoft.com/office/drawing/2014/main" id="{E6E944F1-173F-5C11-6BB4-C8DC12288FE2}"/>
              </a:ext>
            </a:extLst>
          </p:cNvPr>
          <p:cNvGrpSpPr/>
          <p:nvPr/>
        </p:nvGrpSpPr>
        <p:grpSpPr>
          <a:xfrm>
            <a:off x="12694848" y="3123183"/>
            <a:ext cx="3407001" cy="611634"/>
            <a:chOff x="3410139" y="2960374"/>
            <a:chExt cx="3407001" cy="611634"/>
          </a:xfrm>
          <a:solidFill>
            <a:schemeClr val="bg1"/>
          </a:solidFill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0B18B172-8B06-1DB5-4CB7-D6E860E8A9EE}"/>
                </a:ext>
              </a:extLst>
            </p:cNvPr>
            <p:cNvSpPr/>
            <p:nvPr/>
          </p:nvSpPr>
          <p:spPr>
            <a:xfrm>
              <a:off x="3410139" y="2960374"/>
              <a:ext cx="642968" cy="611524"/>
            </a:xfrm>
            <a:custGeom>
              <a:avLst/>
              <a:gdLst>
                <a:gd name="connsiteX0" fmla="*/ 164645 w 642968"/>
                <a:gd name="connsiteY0" fmla="*/ 415544 h 611524"/>
                <a:gd name="connsiteX1" fmla="*/ 164645 w 642968"/>
                <a:gd name="connsiteY1" fmla="*/ 611525 h 611524"/>
                <a:gd name="connsiteX2" fmla="*/ 0 w 642968"/>
                <a:gd name="connsiteY2" fmla="*/ 611525 h 611524"/>
                <a:gd name="connsiteX3" fmla="*/ 0 w 642968"/>
                <a:gd name="connsiteY3" fmla="*/ 0 h 611524"/>
                <a:gd name="connsiteX4" fmla="*/ 399931 w 642968"/>
                <a:gd name="connsiteY4" fmla="*/ 0 h 611524"/>
                <a:gd name="connsiteX5" fmla="*/ 642969 w 642968"/>
                <a:gd name="connsiteY5" fmla="*/ 203842 h 611524"/>
                <a:gd name="connsiteX6" fmla="*/ 642969 w 642968"/>
                <a:gd name="connsiteY6" fmla="*/ 207772 h 611524"/>
                <a:gd name="connsiteX7" fmla="*/ 399931 w 642968"/>
                <a:gd name="connsiteY7" fmla="*/ 411614 h 611524"/>
                <a:gd name="connsiteX8" fmla="*/ 164645 w 642968"/>
                <a:gd name="connsiteY8" fmla="*/ 415544 h 611524"/>
                <a:gd name="connsiteX9" fmla="*/ 164645 w 642968"/>
                <a:gd name="connsiteY9" fmla="*/ 278412 h 611524"/>
                <a:gd name="connsiteX10" fmla="*/ 392070 w 642968"/>
                <a:gd name="connsiteY10" fmla="*/ 278412 h 611524"/>
                <a:gd name="connsiteX11" fmla="*/ 478323 w 642968"/>
                <a:gd name="connsiteY11" fmla="*/ 211812 h 611524"/>
                <a:gd name="connsiteX12" fmla="*/ 478323 w 642968"/>
                <a:gd name="connsiteY12" fmla="*/ 207881 h 611524"/>
                <a:gd name="connsiteX13" fmla="*/ 392070 w 642968"/>
                <a:gd name="connsiteY13" fmla="*/ 141281 h 611524"/>
                <a:gd name="connsiteX14" fmla="*/ 164645 w 642968"/>
                <a:gd name="connsiteY14" fmla="*/ 141281 h 611524"/>
                <a:gd name="connsiteX15" fmla="*/ 164645 w 642968"/>
                <a:gd name="connsiteY15" fmla="*/ 278522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2968" h="611524">
                  <a:moveTo>
                    <a:pt x="164645" y="415544"/>
                  </a:moveTo>
                  <a:lnTo>
                    <a:pt x="164645" y="611525"/>
                  </a:lnTo>
                  <a:lnTo>
                    <a:pt x="0" y="611525"/>
                  </a:lnTo>
                  <a:lnTo>
                    <a:pt x="0" y="0"/>
                  </a:lnTo>
                  <a:lnTo>
                    <a:pt x="399931" y="0"/>
                  </a:lnTo>
                  <a:cubicBezTo>
                    <a:pt x="588160" y="0"/>
                    <a:pt x="642969" y="82323"/>
                    <a:pt x="642969" y="203842"/>
                  </a:cubicBezTo>
                  <a:lnTo>
                    <a:pt x="642969" y="207772"/>
                  </a:lnTo>
                  <a:cubicBezTo>
                    <a:pt x="642969" y="325360"/>
                    <a:pt x="584120" y="411614"/>
                    <a:pt x="399931" y="411614"/>
                  </a:cubicBezTo>
                  <a:lnTo>
                    <a:pt x="164645" y="415544"/>
                  </a:lnTo>
                  <a:close/>
                  <a:moveTo>
                    <a:pt x="164645" y="278412"/>
                  </a:moveTo>
                  <a:lnTo>
                    <a:pt x="392070" y="278412"/>
                  </a:lnTo>
                  <a:cubicBezTo>
                    <a:pt x="450919" y="278412"/>
                    <a:pt x="478323" y="254938"/>
                    <a:pt x="478323" y="211812"/>
                  </a:cubicBezTo>
                  <a:lnTo>
                    <a:pt x="478323" y="207881"/>
                  </a:lnTo>
                  <a:cubicBezTo>
                    <a:pt x="478323" y="164755"/>
                    <a:pt x="450919" y="141281"/>
                    <a:pt x="392070" y="141281"/>
                  </a:cubicBezTo>
                  <a:lnTo>
                    <a:pt x="164645" y="141281"/>
                  </a:lnTo>
                  <a:lnTo>
                    <a:pt x="164645" y="27852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23E1B15A-5C4A-2E8E-89D6-875441C01DB0}"/>
                </a:ext>
              </a:extLst>
            </p:cNvPr>
            <p:cNvSpPr/>
            <p:nvPr/>
          </p:nvSpPr>
          <p:spPr>
            <a:xfrm>
              <a:off x="4029525" y="2960374"/>
              <a:ext cx="752804" cy="611524"/>
            </a:xfrm>
            <a:custGeom>
              <a:avLst/>
              <a:gdLst>
                <a:gd name="connsiteX0" fmla="*/ 529311 w 752804"/>
                <a:gd name="connsiteY0" fmla="*/ 497867 h 611524"/>
                <a:gd name="connsiteX1" fmla="*/ 211703 w 752804"/>
                <a:gd name="connsiteY1" fmla="*/ 497867 h 611524"/>
                <a:gd name="connsiteX2" fmla="*/ 164645 w 752804"/>
                <a:gd name="connsiteY2" fmla="*/ 611525 h 611524"/>
                <a:gd name="connsiteX3" fmla="*/ 0 w 752804"/>
                <a:gd name="connsiteY3" fmla="*/ 611525 h 611524"/>
                <a:gd name="connsiteX4" fmla="*/ 262690 w 752804"/>
                <a:gd name="connsiteY4" fmla="*/ 0 h 611524"/>
                <a:gd name="connsiteX5" fmla="*/ 478323 w 752804"/>
                <a:gd name="connsiteY5" fmla="*/ 0 h 611524"/>
                <a:gd name="connsiteX6" fmla="*/ 752805 w 752804"/>
                <a:gd name="connsiteY6" fmla="*/ 611525 h 611524"/>
                <a:gd name="connsiteX7" fmla="*/ 576368 w 752804"/>
                <a:gd name="connsiteY7" fmla="*/ 611525 h 611524"/>
                <a:gd name="connsiteX8" fmla="*/ 529311 w 752804"/>
                <a:gd name="connsiteY8" fmla="*/ 497867 h 611524"/>
                <a:gd name="connsiteX9" fmla="*/ 364666 w 752804"/>
                <a:gd name="connsiteY9" fmla="*/ 121519 h 611524"/>
                <a:gd name="connsiteX10" fmla="*/ 262690 w 752804"/>
                <a:gd name="connsiteY10" fmla="*/ 368487 h 611524"/>
                <a:gd name="connsiteX11" fmla="*/ 474393 w 752804"/>
                <a:gd name="connsiteY11" fmla="*/ 368487 h 611524"/>
                <a:gd name="connsiteX12" fmla="*/ 364556 w 752804"/>
                <a:gd name="connsiteY12" fmla="*/ 121519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2804" h="611524">
                  <a:moveTo>
                    <a:pt x="529311" y="497867"/>
                  </a:moveTo>
                  <a:lnTo>
                    <a:pt x="211703" y="497867"/>
                  </a:lnTo>
                  <a:lnTo>
                    <a:pt x="164645" y="611525"/>
                  </a:lnTo>
                  <a:lnTo>
                    <a:pt x="0" y="611525"/>
                  </a:lnTo>
                  <a:lnTo>
                    <a:pt x="262690" y="0"/>
                  </a:lnTo>
                  <a:lnTo>
                    <a:pt x="478323" y="0"/>
                  </a:lnTo>
                  <a:lnTo>
                    <a:pt x="752805" y="611525"/>
                  </a:lnTo>
                  <a:lnTo>
                    <a:pt x="576368" y="611525"/>
                  </a:lnTo>
                  <a:lnTo>
                    <a:pt x="529311" y="497867"/>
                  </a:lnTo>
                  <a:close/>
                  <a:moveTo>
                    <a:pt x="364666" y="121519"/>
                  </a:moveTo>
                  <a:lnTo>
                    <a:pt x="262690" y="368487"/>
                  </a:lnTo>
                  <a:lnTo>
                    <a:pt x="474393" y="368487"/>
                  </a:lnTo>
                  <a:lnTo>
                    <a:pt x="364556" y="12151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61036512-78BC-EC3E-7394-C429E7969997}"/>
                </a:ext>
              </a:extLst>
            </p:cNvPr>
            <p:cNvSpPr/>
            <p:nvPr/>
          </p:nvSpPr>
          <p:spPr>
            <a:xfrm>
              <a:off x="4684285" y="2960374"/>
              <a:ext cx="615563" cy="611633"/>
            </a:xfrm>
            <a:custGeom>
              <a:avLst/>
              <a:gdLst>
                <a:gd name="connsiteX0" fmla="*/ 231355 w 615563"/>
                <a:gd name="connsiteY0" fmla="*/ 141171 h 611633"/>
                <a:gd name="connsiteX1" fmla="*/ 0 w 615563"/>
                <a:gd name="connsiteY1" fmla="*/ 141171 h 611633"/>
                <a:gd name="connsiteX2" fmla="*/ 0 w 615563"/>
                <a:gd name="connsiteY2" fmla="*/ 0 h 611633"/>
                <a:gd name="connsiteX3" fmla="*/ 615564 w 615563"/>
                <a:gd name="connsiteY3" fmla="*/ 0 h 611633"/>
                <a:gd name="connsiteX4" fmla="*/ 615564 w 615563"/>
                <a:gd name="connsiteY4" fmla="*/ 141171 h 611633"/>
                <a:gd name="connsiteX5" fmla="*/ 392070 w 615563"/>
                <a:gd name="connsiteY5" fmla="*/ 141171 h 611633"/>
                <a:gd name="connsiteX6" fmla="*/ 392070 w 615563"/>
                <a:gd name="connsiteY6" fmla="*/ 611634 h 611633"/>
                <a:gd name="connsiteX7" fmla="*/ 227424 w 615563"/>
                <a:gd name="connsiteY7" fmla="*/ 611634 h 611633"/>
                <a:gd name="connsiteX8" fmla="*/ 231355 w 615563"/>
                <a:gd name="connsiteY8" fmla="*/ 141171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5563" h="611633">
                  <a:moveTo>
                    <a:pt x="231355" y="141171"/>
                  </a:moveTo>
                  <a:lnTo>
                    <a:pt x="0" y="141171"/>
                  </a:lnTo>
                  <a:lnTo>
                    <a:pt x="0" y="0"/>
                  </a:lnTo>
                  <a:lnTo>
                    <a:pt x="615564" y="0"/>
                  </a:lnTo>
                  <a:lnTo>
                    <a:pt x="615564" y="141171"/>
                  </a:lnTo>
                  <a:lnTo>
                    <a:pt x="392070" y="141171"/>
                  </a:lnTo>
                  <a:lnTo>
                    <a:pt x="392070" y="611634"/>
                  </a:lnTo>
                  <a:lnTo>
                    <a:pt x="227424" y="611634"/>
                  </a:lnTo>
                  <a:cubicBezTo>
                    <a:pt x="231355" y="611634"/>
                    <a:pt x="231355" y="141171"/>
                    <a:pt x="231355" y="14117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3E279D47-D82D-682D-BF03-3BEA63DCC78E}"/>
                </a:ext>
              </a:extLst>
            </p:cNvPr>
            <p:cNvSpPr/>
            <p:nvPr/>
          </p:nvSpPr>
          <p:spPr>
            <a:xfrm>
              <a:off x="6154629" y="2960374"/>
              <a:ext cx="662511" cy="611524"/>
            </a:xfrm>
            <a:custGeom>
              <a:avLst/>
              <a:gdLst>
                <a:gd name="connsiteX0" fmla="*/ 0 w 662511"/>
                <a:gd name="connsiteY0" fmla="*/ 0 h 611524"/>
                <a:gd name="connsiteX1" fmla="*/ 164646 w 662511"/>
                <a:gd name="connsiteY1" fmla="*/ 0 h 611524"/>
                <a:gd name="connsiteX2" fmla="*/ 164646 w 662511"/>
                <a:gd name="connsiteY2" fmla="*/ 227316 h 611524"/>
                <a:gd name="connsiteX3" fmla="*/ 497867 w 662511"/>
                <a:gd name="connsiteY3" fmla="*/ 227316 h 611524"/>
                <a:gd name="connsiteX4" fmla="*/ 497867 w 662511"/>
                <a:gd name="connsiteY4" fmla="*/ 0 h 611524"/>
                <a:gd name="connsiteX5" fmla="*/ 662512 w 662511"/>
                <a:gd name="connsiteY5" fmla="*/ 0 h 611524"/>
                <a:gd name="connsiteX6" fmla="*/ 662512 w 662511"/>
                <a:gd name="connsiteY6" fmla="*/ 611525 h 611524"/>
                <a:gd name="connsiteX7" fmla="*/ 497867 w 662511"/>
                <a:gd name="connsiteY7" fmla="*/ 611525 h 611524"/>
                <a:gd name="connsiteX8" fmla="*/ 497867 w 662511"/>
                <a:gd name="connsiteY8" fmla="*/ 364556 h 611524"/>
                <a:gd name="connsiteX9" fmla="*/ 168576 w 662511"/>
                <a:gd name="connsiteY9" fmla="*/ 364556 h 611524"/>
                <a:gd name="connsiteX10" fmla="*/ 168576 w 662511"/>
                <a:gd name="connsiteY10" fmla="*/ 611525 h 611524"/>
                <a:gd name="connsiteX11" fmla="*/ 3931 w 662511"/>
                <a:gd name="connsiteY11" fmla="*/ 611525 h 611524"/>
                <a:gd name="connsiteX12" fmla="*/ 0 w 662511"/>
                <a:gd name="connsiteY12" fmla="*/ 0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511" h="611524">
                  <a:moveTo>
                    <a:pt x="0" y="0"/>
                  </a:moveTo>
                  <a:lnTo>
                    <a:pt x="164646" y="0"/>
                  </a:lnTo>
                  <a:lnTo>
                    <a:pt x="164646" y="227316"/>
                  </a:lnTo>
                  <a:lnTo>
                    <a:pt x="497867" y="227316"/>
                  </a:lnTo>
                  <a:lnTo>
                    <a:pt x="497867" y="0"/>
                  </a:lnTo>
                  <a:lnTo>
                    <a:pt x="662512" y="0"/>
                  </a:lnTo>
                  <a:lnTo>
                    <a:pt x="662512" y="611525"/>
                  </a:lnTo>
                  <a:lnTo>
                    <a:pt x="497867" y="611525"/>
                  </a:lnTo>
                  <a:lnTo>
                    <a:pt x="497867" y="364556"/>
                  </a:lnTo>
                  <a:lnTo>
                    <a:pt x="168576" y="364556"/>
                  </a:lnTo>
                  <a:lnTo>
                    <a:pt x="168576" y="611525"/>
                  </a:lnTo>
                  <a:lnTo>
                    <a:pt x="3931" y="61152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4340FFBB-B9DD-5E5A-96D3-FD47051756BA}"/>
                </a:ext>
              </a:extLst>
            </p:cNvPr>
            <p:cNvSpPr/>
            <p:nvPr/>
          </p:nvSpPr>
          <p:spPr>
            <a:xfrm>
              <a:off x="5343085" y="2960484"/>
              <a:ext cx="713499" cy="611524"/>
            </a:xfrm>
            <a:custGeom>
              <a:avLst/>
              <a:gdLst>
                <a:gd name="connsiteX0" fmla="*/ 345013 w 713499"/>
                <a:gd name="connsiteY0" fmla="*/ 611525 h 611524"/>
                <a:gd name="connsiteX1" fmla="*/ 0 w 713499"/>
                <a:gd name="connsiteY1" fmla="*/ 317499 h 611524"/>
                <a:gd name="connsiteX2" fmla="*/ 0 w 713499"/>
                <a:gd name="connsiteY2" fmla="*/ 294025 h 611524"/>
                <a:gd name="connsiteX3" fmla="*/ 345013 w 713499"/>
                <a:gd name="connsiteY3" fmla="*/ 0 h 611524"/>
                <a:gd name="connsiteX4" fmla="*/ 380278 w 713499"/>
                <a:gd name="connsiteY4" fmla="*/ 0 h 611524"/>
                <a:gd name="connsiteX5" fmla="*/ 713500 w 713499"/>
                <a:gd name="connsiteY5" fmla="*/ 231246 h 611524"/>
                <a:gd name="connsiteX6" fmla="*/ 713500 w 713499"/>
                <a:gd name="connsiteY6" fmla="*/ 235177 h 611524"/>
                <a:gd name="connsiteX7" fmla="*/ 540993 w 713499"/>
                <a:gd name="connsiteY7" fmla="*/ 235177 h 611524"/>
                <a:gd name="connsiteX8" fmla="*/ 360626 w 713499"/>
                <a:gd name="connsiteY8" fmla="*/ 133201 h 611524"/>
                <a:gd name="connsiteX9" fmla="*/ 172397 w 713499"/>
                <a:gd name="connsiteY9" fmla="*/ 293916 h 611524"/>
                <a:gd name="connsiteX10" fmla="*/ 172397 w 713499"/>
                <a:gd name="connsiteY10" fmla="*/ 301777 h 611524"/>
                <a:gd name="connsiteX11" fmla="*/ 360626 w 713499"/>
                <a:gd name="connsiteY11" fmla="*/ 466423 h 611524"/>
                <a:gd name="connsiteX12" fmla="*/ 540993 w 713499"/>
                <a:gd name="connsiteY12" fmla="*/ 364447 h 611524"/>
                <a:gd name="connsiteX13" fmla="*/ 713500 w 713499"/>
                <a:gd name="connsiteY13" fmla="*/ 364447 h 611524"/>
                <a:gd name="connsiteX14" fmla="*/ 713500 w 713499"/>
                <a:gd name="connsiteY14" fmla="*/ 368378 h 611524"/>
                <a:gd name="connsiteX15" fmla="*/ 344904 w 713499"/>
                <a:gd name="connsiteY15" fmla="*/ 611416 h 61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3499" h="611524">
                  <a:moveTo>
                    <a:pt x="345013" y="611525"/>
                  </a:moveTo>
                  <a:cubicBezTo>
                    <a:pt x="78392" y="611525"/>
                    <a:pt x="0" y="439018"/>
                    <a:pt x="0" y="317499"/>
                  </a:cubicBezTo>
                  <a:lnTo>
                    <a:pt x="0" y="294025"/>
                  </a:lnTo>
                  <a:cubicBezTo>
                    <a:pt x="0" y="168576"/>
                    <a:pt x="74461" y="0"/>
                    <a:pt x="345013" y="0"/>
                  </a:cubicBezTo>
                  <a:lnTo>
                    <a:pt x="380278" y="0"/>
                  </a:lnTo>
                  <a:cubicBezTo>
                    <a:pt x="627246" y="0"/>
                    <a:pt x="713500" y="121519"/>
                    <a:pt x="713500" y="231246"/>
                  </a:cubicBezTo>
                  <a:lnTo>
                    <a:pt x="713500" y="235177"/>
                  </a:lnTo>
                  <a:lnTo>
                    <a:pt x="540993" y="235177"/>
                  </a:lnTo>
                  <a:cubicBezTo>
                    <a:pt x="537063" y="219454"/>
                    <a:pt x="517519" y="133201"/>
                    <a:pt x="360626" y="133201"/>
                  </a:cubicBezTo>
                  <a:cubicBezTo>
                    <a:pt x="215524" y="133201"/>
                    <a:pt x="172397" y="215524"/>
                    <a:pt x="172397" y="293916"/>
                  </a:cubicBezTo>
                  <a:lnTo>
                    <a:pt x="172397" y="301777"/>
                  </a:lnTo>
                  <a:cubicBezTo>
                    <a:pt x="172397" y="376239"/>
                    <a:pt x="219454" y="466423"/>
                    <a:pt x="360626" y="466423"/>
                  </a:cubicBezTo>
                  <a:cubicBezTo>
                    <a:pt x="517410" y="466423"/>
                    <a:pt x="537063" y="380169"/>
                    <a:pt x="540993" y="364447"/>
                  </a:cubicBezTo>
                  <a:lnTo>
                    <a:pt x="713500" y="364447"/>
                  </a:lnTo>
                  <a:lnTo>
                    <a:pt x="713500" y="368378"/>
                  </a:lnTo>
                  <a:cubicBezTo>
                    <a:pt x="713500" y="493827"/>
                    <a:pt x="619385" y="611416"/>
                    <a:pt x="344904" y="61141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grpSp>
        <p:nvGrpSpPr>
          <p:cNvPr id="37" name="!!logo">
            <a:extLst>
              <a:ext uri="{FF2B5EF4-FFF2-40B4-BE49-F238E27FC236}">
                <a16:creationId xmlns:a16="http://schemas.microsoft.com/office/drawing/2014/main" id="{F3B8BE08-6F65-E330-EC31-80E7644A22F0}"/>
              </a:ext>
            </a:extLst>
          </p:cNvPr>
          <p:cNvGrpSpPr/>
          <p:nvPr/>
        </p:nvGrpSpPr>
        <p:grpSpPr>
          <a:xfrm>
            <a:off x="4501242" y="1843546"/>
            <a:ext cx="3189516" cy="3170908"/>
            <a:chOff x="1712371" y="2568414"/>
            <a:chExt cx="1403743" cy="1395554"/>
          </a:xfrm>
          <a:solidFill>
            <a:schemeClr val="bg1"/>
          </a:solidFill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20D1C63E-8CFC-9537-634A-F182D663F131}"/>
                </a:ext>
              </a:extLst>
            </p:cNvPr>
            <p:cNvSpPr/>
            <p:nvPr/>
          </p:nvSpPr>
          <p:spPr>
            <a:xfrm>
              <a:off x="2139815" y="2983124"/>
              <a:ext cx="561185" cy="579691"/>
            </a:xfrm>
            <a:custGeom>
              <a:avLst/>
              <a:gdLst>
                <a:gd name="connsiteX0" fmla="*/ 560646 w 561185"/>
                <a:gd name="connsiteY0" fmla="*/ 443783 h 579691"/>
                <a:gd name="connsiteX1" fmla="*/ 560646 w 561185"/>
                <a:gd name="connsiteY1" fmla="*/ 98770 h 579691"/>
                <a:gd name="connsiteX2" fmla="*/ 552785 w 561185"/>
                <a:gd name="connsiteY2" fmla="*/ 86978 h 579691"/>
                <a:gd name="connsiteX3" fmla="*/ 540993 w 561185"/>
                <a:gd name="connsiteY3" fmla="*/ 83048 h 579691"/>
                <a:gd name="connsiteX4" fmla="*/ 533132 w 561185"/>
                <a:gd name="connsiteY4" fmla="*/ 86978 h 579691"/>
                <a:gd name="connsiteX5" fmla="*/ 521341 w 561185"/>
                <a:gd name="connsiteY5" fmla="*/ 98770 h 579691"/>
                <a:gd name="connsiteX6" fmla="*/ 525271 w 561185"/>
                <a:gd name="connsiteY6" fmla="*/ 110561 h 579691"/>
                <a:gd name="connsiteX7" fmla="*/ 533132 w 561185"/>
                <a:gd name="connsiteY7" fmla="*/ 118422 h 579691"/>
                <a:gd name="connsiteX8" fmla="*/ 533132 w 561185"/>
                <a:gd name="connsiteY8" fmla="*/ 396726 h 579691"/>
                <a:gd name="connsiteX9" fmla="*/ 525271 w 561185"/>
                <a:gd name="connsiteY9" fmla="*/ 404587 h 579691"/>
                <a:gd name="connsiteX10" fmla="*/ 74352 w 561185"/>
                <a:gd name="connsiteY10" fmla="*/ 431991 h 579691"/>
                <a:gd name="connsiteX11" fmla="*/ 66491 w 561185"/>
                <a:gd name="connsiteY11" fmla="*/ 424130 h 579691"/>
                <a:gd name="connsiteX12" fmla="*/ 66491 w 561185"/>
                <a:gd name="connsiteY12" fmla="*/ 51713 h 579691"/>
                <a:gd name="connsiteX13" fmla="*/ 74352 w 561185"/>
                <a:gd name="connsiteY13" fmla="*/ 43852 h 579691"/>
                <a:gd name="connsiteX14" fmla="*/ 348834 w 561185"/>
                <a:gd name="connsiteY14" fmla="*/ 86978 h 579691"/>
                <a:gd name="connsiteX15" fmla="*/ 356695 w 561185"/>
                <a:gd name="connsiteY15" fmla="*/ 83048 h 579691"/>
                <a:gd name="connsiteX16" fmla="*/ 368487 w 561185"/>
                <a:gd name="connsiteY16" fmla="*/ 67326 h 579691"/>
                <a:gd name="connsiteX17" fmla="*/ 364556 w 561185"/>
                <a:gd name="connsiteY17" fmla="*/ 55534 h 579691"/>
                <a:gd name="connsiteX18" fmla="*/ 31335 w 561185"/>
                <a:gd name="connsiteY18" fmla="*/ 616 h 579691"/>
                <a:gd name="connsiteX19" fmla="*/ 0 w 561185"/>
                <a:gd name="connsiteY19" fmla="*/ 24090 h 579691"/>
                <a:gd name="connsiteX20" fmla="*/ 0 w 561185"/>
                <a:gd name="connsiteY20" fmla="*/ 498373 h 579691"/>
                <a:gd name="connsiteX21" fmla="*/ 19653 w 561185"/>
                <a:gd name="connsiteY21" fmla="*/ 514096 h 579691"/>
                <a:gd name="connsiteX22" fmla="*/ 254938 w 561185"/>
                <a:gd name="connsiteY22" fmla="*/ 494443 h 579691"/>
                <a:gd name="connsiteX23" fmla="*/ 262799 w 561185"/>
                <a:gd name="connsiteY23" fmla="*/ 502304 h 579691"/>
                <a:gd name="connsiteX24" fmla="*/ 258869 w 561185"/>
                <a:gd name="connsiteY24" fmla="*/ 529708 h 579691"/>
                <a:gd name="connsiteX25" fmla="*/ 251008 w 561185"/>
                <a:gd name="connsiteY25" fmla="*/ 537570 h 579691"/>
                <a:gd name="connsiteX26" fmla="*/ 188229 w 561185"/>
                <a:gd name="connsiteY26" fmla="*/ 564974 h 579691"/>
                <a:gd name="connsiteX27" fmla="*/ 333330 w 561185"/>
                <a:gd name="connsiteY27" fmla="*/ 572835 h 579691"/>
                <a:gd name="connsiteX28" fmla="*/ 439236 w 561185"/>
                <a:gd name="connsiteY28" fmla="*/ 541500 h 579691"/>
                <a:gd name="connsiteX29" fmla="*/ 372636 w 561185"/>
                <a:gd name="connsiteY29" fmla="*/ 525778 h 579691"/>
                <a:gd name="connsiteX30" fmla="*/ 364775 w 561185"/>
                <a:gd name="connsiteY30" fmla="*/ 517917 h 579691"/>
                <a:gd name="connsiteX31" fmla="*/ 364775 w 561185"/>
                <a:gd name="connsiteY31" fmla="*/ 494443 h 579691"/>
                <a:gd name="connsiteX32" fmla="*/ 372636 w 561185"/>
                <a:gd name="connsiteY32" fmla="*/ 486582 h 579691"/>
                <a:gd name="connsiteX33" fmla="*/ 545142 w 561185"/>
                <a:gd name="connsiteY33" fmla="*/ 470860 h 579691"/>
                <a:gd name="connsiteX34" fmla="*/ 560864 w 561185"/>
                <a:gd name="connsiteY34" fmla="*/ 443455 h 5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61185" h="579691">
                  <a:moveTo>
                    <a:pt x="560646" y="443783"/>
                  </a:moveTo>
                  <a:lnTo>
                    <a:pt x="560646" y="98770"/>
                  </a:lnTo>
                  <a:cubicBezTo>
                    <a:pt x="560646" y="90909"/>
                    <a:pt x="556715" y="86978"/>
                    <a:pt x="552785" y="86978"/>
                  </a:cubicBezTo>
                  <a:lnTo>
                    <a:pt x="540993" y="83048"/>
                  </a:lnTo>
                  <a:cubicBezTo>
                    <a:pt x="538373" y="83048"/>
                    <a:pt x="535753" y="84358"/>
                    <a:pt x="533132" y="86978"/>
                  </a:cubicBezTo>
                  <a:cubicBezTo>
                    <a:pt x="529202" y="90909"/>
                    <a:pt x="525271" y="94839"/>
                    <a:pt x="521341" y="98770"/>
                  </a:cubicBezTo>
                  <a:cubicBezTo>
                    <a:pt x="517410" y="102700"/>
                    <a:pt x="521341" y="110561"/>
                    <a:pt x="525271" y="110561"/>
                  </a:cubicBezTo>
                  <a:cubicBezTo>
                    <a:pt x="529202" y="110561"/>
                    <a:pt x="533132" y="114492"/>
                    <a:pt x="533132" y="118422"/>
                  </a:cubicBezTo>
                  <a:lnTo>
                    <a:pt x="533132" y="396726"/>
                  </a:lnTo>
                  <a:cubicBezTo>
                    <a:pt x="533132" y="400656"/>
                    <a:pt x="529202" y="404587"/>
                    <a:pt x="525271" y="404587"/>
                  </a:cubicBezTo>
                  <a:lnTo>
                    <a:pt x="74352" y="431991"/>
                  </a:lnTo>
                  <a:cubicBezTo>
                    <a:pt x="70422" y="431991"/>
                    <a:pt x="66491" y="428061"/>
                    <a:pt x="66491" y="424130"/>
                  </a:cubicBezTo>
                  <a:lnTo>
                    <a:pt x="66491" y="51713"/>
                  </a:lnTo>
                  <a:cubicBezTo>
                    <a:pt x="66491" y="47782"/>
                    <a:pt x="70422" y="43852"/>
                    <a:pt x="74352" y="43852"/>
                  </a:cubicBezTo>
                  <a:lnTo>
                    <a:pt x="348834" y="86978"/>
                  </a:lnTo>
                  <a:cubicBezTo>
                    <a:pt x="352765" y="86978"/>
                    <a:pt x="356695" y="86978"/>
                    <a:pt x="356695" y="83048"/>
                  </a:cubicBezTo>
                  <a:cubicBezTo>
                    <a:pt x="360626" y="79117"/>
                    <a:pt x="364556" y="71256"/>
                    <a:pt x="368487" y="67326"/>
                  </a:cubicBezTo>
                  <a:cubicBezTo>
                    <a:pt x="372417" y="63395"/>
                    <a:pt x="368487" y="55534"/>
                    <a:pt x="364556" y="55534"/>
                  </a:cubicBezTo>
                  <a:lnTo>
                    <a:pt x="31335" y="616"/>
                  </a:lnTo>
                  <a:cubicBezTo>
                    <a:pt x="15613" y="-3315"/>
                    <a:pt x="0" y="12407"/>
                    <a:pt x="0" y="24090"/>
                  </a:cubicBezTo>
                  <a:lnTo>
                    <a:pt x="0" y="498373"/>
                  </a:lnTo>
                  <a:cubicBezTo>
                    <a:pt x="0" y="506234"/>
                    <a:pt x="7861" y="514096"/>
                    <a:pt x="19653" y="514096"/>
                  </a:cubicBezTo>
                  <a:cubicBezTo>
                    <a:pt x="19653" y="514096"/>
                    <a:pt x="129489" y="502304"/>
                    <a:pt x="254938" y="494443"/>
                  </a:cubicBezTo>
                  <a:cubicBezTo>
                    <a:pt x="258869" y="494443"/>
                    <a:pt x="262799" y="498373"/>
                    <a:pt x="262799" y="502304"/>
                  </a:cubicBezTo>
                  <a:lnTo>
                    <a:pt x="258869" y="529708"/>
                  </a:lnTo>
                  <a:cubicBezTo>
                    <a:pt x="258869" y="533639"/>
                    <a:pt x="254938" y="537570"/>
                    <a:pt x="251008" y="537570"/>
                  </a:cubicBezTo>
                  <a:cubicBezTo>
                    <a:pt x="215742" y="545431"/>
                    <a:pt x="188229" y="553292"/>
                    <a:pt x="188229" y="564974"/>
                  </a:cubicBezTo>
                  <a:cubicBezTo>
                    <a:pt x="188229" y="580696"/>
                    <a:pt x="258760" y="584627"/>
                    <a:pt x="333330" y="572835"/>
                  </a:cubicBezTo>
                  <a:cubicBezTo>
                    <a:pt x="396110" y="564974"/>
                    <a:pt x="439236" y="549361"/>
                    <a:pt x="439236" y="541500"/>
                  </a:cubicBezTo>
                  <a:cubicBezTo>
                    <a:pt x="439236" y="533639"/>
                    <a:pt x="411832" y="525778"/>
                    <a:pt x="372636" y="525778"/>
                  </a:cubicBezTo>
                  <a:cubicBezTo>
                    <a:pt x="368705" y="525778"/>
                    <a:pt x="364775" y="521847"/>
                    <a:pt x="364775" y="517917"/>
                  </a:cubicBezTo>
                  <a:lnTo>
                    <a:pt x="364775" y="494443"/>
                  </a:lnTo>
                  <a:cubicBezTo>
                    <a:pt x="364775" y="490512"/>
                    <a:pt x="368705" y="486582"/>
                    <a:pt x="372636" y="486582"/>
                  </a:cubicBezTo>
                  <a:cubicBezTo>
                    <a:pt x="462819" y="478721"/>
                    <a:pt x="541212" y="470860"/>
                    <a:pt x="545142" y="470860"/>
                  </a:cubicBezTo>
                  <a:cubicBezTo>
                    <a:pt x="564795" y="462999"/>
                    <a:pt x="560864" y="443455"/>
                    <a:pt x="560864" y="44345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EEB8727F-AA4D-059D-DCAE-B3410FA879BB}"/>
                </a:ext>
              </a:extLst>
            </p:cNvPr>
            <p:cNvSpPr/>
            <p:nvPr/>
          </p:nvSpPr>
          <p:spPr>
            <a:xfrm>
              <a:off x="2282952" y="2922052"/>
              <a:ext cx="432139" cy="428100"/>
            </a:xfrm>
            <a:custGeom>
              <a:avLst/>
              <a:gdLst>
                <a:gd name="connsiteX0" fmla="*/ 354730 w 432139"/>
                <a:gd name="connsiteY0" fmla="*/ 3057 h 428100"/>
                <a:gd name="connsiteX1" fmla="*/ 158640 w 432139"/>
                <a:gd name="connsiteY1" fmla="*/ 289221 h 428100"/>
                <a:gd name="connsiteX2" fmla="*/ 150779 w 432139"/>
                <a:gd name="connsiteY2" fmla="*/ 289221 h 428100"/>
                <a:gd name="connsiteX3" fmla="*/ 64526 w 432139"/>
                <a:gd name="connsiteY3" fmla="*/ 199038 h 428100"/>
                <a:gd name="connsiteX4" fmla="*/ 56665 w 432139"/>
                <a:gd name="connsiteY4" fmla="*/ 199038 h 428100"/>
                <a:gd name="connsiteX5" fmla="*/ 1747 w 432139"/>
                <a:gd name="connsiteY5" fmla="*/ 265638 h 428100"/>
                <a:gd name="connsiteX6" fmla="*/ 1747 w 432139"/>
                <a:gd name="connsiteY6" fmla="*/ 273499 h 428100"/>
                <a:gd name="connsiteX7" fmla="*/ 182114 w 432139"/>
                <a:gd name="connsiteY7" fmla="*/ 426353 h 428100"/>
                <a:gd name="connsiteX8" fmla="*/ 189975 w 432139"/>
                <a:gd name="connsiteY8" fmla="*/ 426353 h 428100"/>
                <a:gd name="connsiteX9" fmla="*/ 429192 w 432139"/>
                <a:gd name="connsiteY9" fmla="*/ 81340 h 428100"/>
                <a:gd name="connsiteX10" fmla="*/ 429192 w 432139"/>
                <a:gd name="connsiteY10" fmla="*/ 73479 h 428100"/>
                <a:gd name="connsiteX11" fmla="*/ 366412 w 432139"/>
                <a:gd name="connsiteY11" fmla="*/ 2948 h 428100"/>
                <a:gd name="connsiteX12" fmla="*/ 354621 w 432139"/>
                <a:gd name="connsiteY12" fmla="*/ 2948 h 42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139" h="428100">
                  <a:moveTo>
                    <a:pt x="354730" y="3057"/>
                  </a:moveTo>
                  <a:cubicBezTo>
                    <a:pt x="260616" y="85380"/>
                    <a:pt x="197946" y="206899"/>
                    <a:pt x="158640" y="289221"/>
                  </a:cubicBezTo>
                  <a:cubicBezTo>
                    <a:pt x="158640" y="293152"/>
                    <a:pt x="150779" y="293152"/>
                    <a:pt x="150779" y="289221"/>
                  </a:cubicBezTo>
                  <a:cubicBezTo>
                    <a:pt x="135057" y="269569"/>
                    <a:pt x="80248" y="214760"/>
                    <a:pt x="64526" y="199038"/>
                  </a:cubicBezTo>
                  <a:cubicBezTo>
                    <a:pt x="60596" y="195107"/>
                    <a:pt x="56665" y="195107"/>
                    <a:pt x="56665" y="199038"/>
                  </a:cubicBezTo>
                  <a:cubicBezTo>
                    <a:pt x="44874" y="214760"/>
                    <a:pt x="17469" y="250025"/>
                    <a:pt x="1747" y="265638"/>
                  </a:cubicBezTo>
                  <a:cubicBezTo>
                    <a:pt x="-2184" y="269569"/>
                    <a:pt x="1747" y="273499"/>
                    <a:pt x="1747" y="273499"/>
                  </a:cubicBezTo>
                  <a:cubicBezTo>
                    <a:pt x="40943" y="304834"/>
                    <a:pt x="142918" y="391088"/>
                    <a:pt x="182114" y="426353"/>
                  </a:cubicBezTo>
                  <a:cubicBezTo>
                    <a:pt x="186045" y="430284"/>
                    <a:pt x="189975" y="426353"/>
                    <a:pt x="189975" y="426353"/>
                  </a:cubicBezTo>
                  <a:cubicBezTo>
                    <a:pt x="264437" y="249916"/>
                    <a:pt x="339008" y="151980"/>
                    <a:pt x="429192" y="81340"/>
                  </a:cubicBezTo>
                  <a:cubicBezTo>
                    <a:pt x="433122" y="81340"/>
                    <a:pt x="433122" y="77410"/>
                    <a:pt x="429192" y="73479"/>
                  </a:cubicBezTo>
                  <a:lnTo>
                    <a:pt x="366412" y="2948"/>
                  </a:lnTo>
                  <a:cubicBezTo>
                    <a:pt x="358551" y="-983"/>
                    <a:pt x="354621" y="-983"/>
                    <a:pt x="354621" y="294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D83964E4-371F-1643-8724-AC3A03EF7DB1}"/>
                </a:ext>
              </a:extLst>
            </p:cNvPr>
            <p:cNvSpPr/>
            <p:nvPr/>
          </p:nvSpPr>
          <p:spPr>
            <a:xfrm>
              <a:off x="1922490" y="2568414"/>
              <a:ext cx="586166" cy="388030"/>
            </a:xfrm>
            <a:custGeom>
              <a:avLst/>
              <a:gdLst>
                <a:gd name="connsiteX0" fmla="*/ 577951 w 586166"/>
                <a:gd name="connsiteY0" fmla="*/ 3931 h 388030"/>
                <a:gd name="connsiteX1" fmla="*/ 491698 w 586166"/>
                <a:gd name="connsiteY1" fmla="*/ 0 h 388030"/>
                <a:gd name="connsiteX2" fmla="*/ 205425 w 586166"/>
                <a:gd name="connsiteY2" fmla="*/ 62670 h 388030"/>
                <a:gd name="connsiteX3" fmla="*/ 13266 w 586166"/>
                <a:gd name="connsiteY3" fmla="*/ 184189 h 388030"/>
                <a:gd name="connsiteX4" fmla="*/ 1474 w 586166"/>
                <a:gd name="connsiteY4" fmla="*/ 235177 h 388030"/>
                <a:gd name="connsiteX5" fmla="*/ 36740 w 586166"/>
                <a:gd name="connsiteY5" fmla="*/ 388030 h 388030"/>
                <a:gd name="connsiteX6" fmla="*/ 323013 w 586166"/>
                <a:gd name="connsiteY6" fmla="*/ 258651 h 388030"/>
                <a:gd name="connsiteX7" fmla="*/ 581882 w 586166"/>
                <a:gd name="connsiteY7" fmla="*/ 19653 h 388030"/>
                <a:gd name="connsiteX8" fmla="*/ 577951 w 586166"/>
                <a:gd name="connsiteY8" fmla="*/ 3931 h 38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6166" h="388030">
                  <a:moveTo>
                    <a:pt x="577951" y="3931"/>
                  </a:moveTo>
                  <a:cubicBezTo>
                    <a:pt x="550547" y="0"/>
                    <a:pt x="519102" y="0"/>
                    <a:pt x="491698" y="0"/>
                  </a:cubicBezTo>
                  <a:cubicBezTo>
                    <a:pt x="389723" y="0"/>
                    <a:pt x="295608" y="19653"/>
                    <a:pt x="205425" y="62670"/>
                  </a:cubicBezTo>
                  <a:cubicBezTo>
                    <a:pt x="134893" y="90075"/>
                    <a:pt x="72114" y="133201"/>
                    <a:pt x="13266" y="184189"/>
                  </a:cubicBezTo>
                  <a:cubicBezTo>
                    <a:pt x="1474" y="199911"/>
                    <a:pt x="-2457" y="215524"/>
                    <a:pt x="1474" y="235177"/>
                  </a:cubicBezTo>
                  <a:lnTo>
                    <a:pt x="36740" y="388030"/>
                  </a:lnTo>
                  <a:lnTo>
                    <a:pt x="323013" y="258651"/>
                  </a:lnTo>
                  <a:lnTo>
                    <a:pt x="581882" y="19653"/>
                  </a:lnTo>
                  <a:cubicBezTo>
                    <a:pt x="589743" y="15722"/>
                    <a:pt x="585812" y="3931"/>
                    <a:pt x="577951" y="393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2BB64CF5-538C-4C23-659D-EA83DD4485BF}"/>
                </a:ext>
              </a:extLst>
            </p:cNvPr>
            <p:cNvSpPr/>
            <p:nvPr/>
          </p:nvSpPr>
          <p:spPr>
            <a:xfrm>
              <a:off x="2853315" y="3019223"/>
              <a:ext cx="262799" cy="670727"/>
            </a:xfrm>
            <a:custGeom>
              <a:avLst/>
              <a:gdLst>
                <a:gd name="connsiteX0" fmla="*/ 43127 w 262799"/>
                <a:gd name="connsiteY0" fmla="*/ 0 h 670727"/>
                <a:gd name="connsiteX1" fmla="*/ 0 w 262799"/>
                <a:gd name="connsiteY1" fmla="*/ 211703 h 670727"/>
                <a:gd name="connsiteX2" fmla="*/ 101975 w 262799"/>
                <a:gd name="connsiteY2" fmla="*/ 662512 h 670727"/>
                <a:gd name="connsiteX3" fmla="*/ 121628 w 262799"/>
                <a:gd name="connsiteY3" fmla="*/ 666443 h 670727"/>
                <a:gd name="connsiteX4" fmla="*/ 219673 w 262799"/>
                <a:gd name="connsiteY4" fmla="*/ 486075 h 670727"/>
                <a:gd name="connsiteX5" fmla="*/ 262799 w 262799"/>
                <a:gd name="connsiteY5" fmla="*/ 246968 h 670727"/>
                <a:gd name="connsiteX6" fmla="*/ 243256 w 262799"/>
                <a:gd name="connsiteY6" fmla="*/ 86253 h 670727"/>
                <a:gd name="connsiteX7" fmla="*/ 207990 w 262799"/>
                <a:gd name="connsiteY7" fmla="*/ 50988 h 670727"/>
                <a:gd name="connsiteX8" fmla="*/ 43345 w 262799"/>
                <a:gd name="connsiteY8" fmla="*/ 0 h 67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799" h="670727">
                  <a:moveTo>
                    <a:pt x="43127" y="0"/>
                  </a:moveTo>
                  <a:cubicBezTo>
                    <a:pt x="35266" y="47057"/>
                    <a:pt x="19653" y="125449"/>
                    <a:pt x="0" y="211703"/>
                  </a:cubicBezTo>
                  <a:lnTo>
                    <a:pt x="101975" y="662512"/>
                  </a:lnTo>
                  <a:cubicBezTo>
                    <a:pt x="101975" y="670373"/>
                    <a:pt x="113767" y="674304"/>
                    <a:pt x="121628" y="666443"/>
                  </a:cubicBezTo>
                  <a:cubicBezTo>
                    <a:pt x="164755" y="611525"/>
                    <a:pt x="196090" y="548855"/>
                    <a:pt x="219673" y="486075"/>
                  </a:cubicBezTo>
                  <a:cubicBezTo>
                    <a:pt x="247077" y="407683"/>
                    <a:pt x="262799" y="329291"/>
                    <a:pt x="262799" y="246968"/>
                  </a:cubicBezTo>
                  <a:cubicBezTo>
                    <a:pt x="262799" y="192050"/>
                    <a:pt x="254938" y="141171"/>
                    <a:pt x="243256" y="86253"/>
                  </a:cubicBezTo>
                  <a:cubicBezTo>
                    <a:pt x="239325" y="70531"/>
                    <a:pt x="227534" y="54918"/>
                    <a:pt x="207990" y="50988"/>
                  </a:cubicBezTo>
                  <a:lnTo>
                    <a:pt x="43345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498003CF-5BFA-C91E-0783-A92F61ADC303}"/>
                </a:ext>
              </a:extLst>
            </p:cNvPr>
            <p:cNvSpPr/>
            <p:nvPr/>
          </p:nvSpPr>
          <p:spPr>
            <a:xfrm>
              <a:off x="2319828" y="3352335"/>
              <a:ext cx="581745" cy="611633"/>
            </a:xfrm>
            <a:custGeom>
              <a:avLst/>
              <a:gdLst>
                <a:gd name="connsiteX0" fmla="*/ 498221 w 581745"/>
                <a:gd name="connsiteY0" fmla="*/ 109 h 611633"/>
                <a:gd name="connsiteX1" fmla="*/ 470817 w 581745"/>
                <a:gd name="connsiteY1" fmla="*/ 86362 h 611633"/>
                <a:gd name="connsiteX2" fmla="*/ 259114 w 581745"/>
                <a:gd name="connsiteY2" fmla="*/ 372527 h 611633"/>
                <a:gd name="connsiteX3" fmla="*/ 172861 w 581745"/>
                <a:gd name="connsiteY3" fmla="*/ 439127 h 611633"/>
                <a:gd name="connsiteX4" fmla="*/ 125804 w 581745"/>
                <a:gd name="connsiteY4" fmla="*/ 478323 h 611633"/>
                <a:gd name="connsiteX5" fmla="*/ 4285 w 581745"/>
                <a:gd name="connsiteY5" fmla="*/ 591981 h 611633"/>
                <a:gd name="connsiteX6" fmla="*/ 8215 w 581745"/>
                <a:gd name="connsiteY6" fmla="*/ 607703 h 611633"/>
                <a:gd name="connsiteX7" fmla="*/ 94469 w 581745"/>
                <a:gd name="connsiteY7" fmla="*/ 611634 h 611633"/>
                <a:gd name="connsiteX8" fmla="*/ 380742 w 581745"/>
                <a:gd name="connsiteY8" fmla="*/ 548855 h 611633"/>
                <a:gd name="connsiteX9" fmla="*/ 565040 w 581745"/>
                <a:gd name="connsiteY9" fmla="*/ 427336 h 611633"/>
                <a:gd name="connsiteX10" fmla="*/ 580762 w 581745"/>
                <a:gd name="connsiteY10" fmla="*/ 380279 h 611633"/>
                <a:gd name="connsiteX11" fmla="*/ 498439 w 581745"/>
                <a:gd name="connsiteY11" fmla="*/ 0 h 6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745" h="611633">
                  <a:moveTo>
                    <a:pt x="498221" y="109"/>
                  </a:moveTo>
                  <a:cubicBezTo>
                    <a:pt x="490360" y="31444"/>
                    <a:pt x="478568" y="58958"/>
                    <a:pt x="470817" y="86362"/>
                  </a:cubicBezTo>
                  <a:cubicBezTo>
                    <a:pt x="427690" y="196090"/>
                    <a:pt x="357159" y="290204"/>
                    <a:pt x="259114" y="372527"/>
                  </a:cubicBezTo>
                  <a:cubicBezTo>
                    <a:pt x="231710" y="396001"/>
                    <a:pt x="204196" y="415653"/>
                    <a:pt x="172861" y="439127"/>
                  </a:cubicBezTo>
                  <a:cubicBezTo>
                    <a:pt x="157139" y="450919"/>
                    <a:pt x="141526" y="462601"/>
                    <a:pt x="125804" y="478323"/>
                  </a:cubicBezTo>
                  <a:cubicBezTo>
                    <a:pt x="102330" y="501797"/>
                    <a:pt x="51342" y="548855"/>
                    <a:pt x="4285" y="591981"/>
                  </a:cubicBezTo>
                  <a:cubicBezTo>
                    <a:pt x="-3576" y="595912"/>
                    <a:pt x="354" y="607703"/>
                    <a:pt x="8215" y="607703"/>
                  </a:cubicBezTo>
                  <a:cubicBezTo>
                    <a:pt x="35620" y="611634"/>
                    <a:pt x="63134" y="611634"/>
                    <a:pt x="94469" y="611634"/>
                  </a:cubicBezTo>
                  <a:cubicBezTo>
                    <a:pt x="196444" y="611634"/>
                    <a:pt x="290558" y="591981"/>
                    <a:pt x="380742" y="548855"/>
                  </a:cubicBezTo>
                  <a:cubicBezTo>
                    <a:pt x="447343" y="517519"/>
                    <a:pt x="510122" y="478323"/>
                    <a:pt x="565040" y="427336"/>
                  </a:cubicBezTo>
                  <a:cubicBezTo>
                    <a:pt x="576832" y="415544"/>
                    <a:pt x="584583" y="396001"/>
                    <a:pt x="580762" y="380279"/>
                  </a:cubicBezTo>
                  <a:lnTo>
                    <a:pt x="498439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A14B5C0F-163A-EA8B-8949-7F35E20896D4}"/>
                </a:ext>
              </a:extLst>
            </p:cNvPr>
            <p:cNvSpPr/>
            <p:nvPr/>
          </p:nvSpPr>
          <p:spPr>
            <a:xfrm>
              <a:off x="1770174" y="3527836"/>
              <a:ext cx="608748" cy="406381"/>
            </a:xfrm>
            <a:custGeom>
              <a:avLst/>
              <a:gdLst>
                <a:gd name="connsiteX0" fmla="*/ 608749 w 608748"/>
                <a:gd name="connsiteY0" fmla="*/ 283279 h 406381"/>
                <a:gd name="connsiteX1" fmla="*/ 404907 w 608748"/>
                <a:gd name="connsiteY1" fmla="*/ 122564 h 406381"/>
                <a:gd name="connsiteX2" fmla="*/ 12837 w 608748"/>
                <a:gd name="connsiteY2" fmla="*/ 1045 h 406381"/>
                <a:gd name="connsiteX3" fmla="*/ 1045 w 608748"/>
                <a:gd name="connsiteY3" fmla="*/ 12837 h 406381"/>
                <a:gd name="connsiteX4" fmla="*/ 185343 w 608748"/>
                <a:gd name="connsiteY4" fmla="*/ 267666 h 406381"/>
                <a:gd name="connsiteX5" fmla="*/ 436242 w 608748"/>
                <a:gd name="connsiteY5" fmla="*/ 404907 h 406381"/>
                <a:gd name="connsiteX6" fmla="*/ 487230 w 608748"/>
                <a:gd name="connsiteY6" fmla="*/ 393116 h 406381"/>
                <a:gd name="connsiteX7" fmla="*/ 608749 w 608748"/>
                <a:gd name="connsiteY7" fmla="*/ 283388 h 40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8748" h="406381">
                  <a:moveTo>
                    <a:pt x="608749" y="283279"/>
                  </a:moveTo>
                  <a:cubicBezTo>
                    <a:pt x="561691" y="259805"/>
                    <a:pt x="479369" y="208818"/>
                    <a:pt x="404907" y="122564"/>
                  </a:cubicBezTo>
                  <a:lnTo>
                    <a:pt x="12837" y="1045"/>
                  </a:lnTo>
                  <a:cubicBezTo>
                    <a:pt x="4976" y="-2885"/>
                    <a:pt x="-2885" y="4976"/>
                    <a:pt x="1045" y="12837"/>
                  </a:cubicBezTo>
                  <a:cubicBezTo>
                    <a:pt x="40242" y="110882"/>
                    <a:pt x="103021" y="197135"/>
                    <a:pt x="185343" y="267666"/>
                  </a:cubicBezTo>
                  <a:cubicBezTo>
                    <a:pt x="259805" y="330336"/>
                    <a:pt x="346058" y="377394"/>
                    <a:pt x="436242" y="404907"/>
                  </a:cubicBezTo>
                  <a:cubicBezTo>
                    <a:pt x="451964" y="408838"/>
                    <a:pt x="471508" y="404907"/>
                    <a:pt x="487230" y="393116"/>
                  </a:cubicBezTo>
                  <a:lnTo>
                    <a:pt x="608749" y="2833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80B83614-1759-8A94-6DEC-52987FB2DBBA}"/>
                </a:ext>
              </a:extLst>
            </p:cNvPr>
            <p:cNvSpPr/>
            <p:nvPr/>
          </p:nvSpPr>
          <p:spPr>
            <a:xfrm>
              <a:off x="1712371" y="2842541"/>
              <a:ext cx="399931" cy="725536"/>
            </a:xfrm>
            <a:custGeom>
              <a:avLst/>
              <a:gdLst>
                <a:gd name="connsiteX0" fmla="*/ 399931 w 399931"/>
                <a:gd name="connsiteY0" fmla="*/ 725537 h 725536"/>
                <a:gd name="connsiteX1" fmla="*/ 392070 w 399931"/>
                <a:gd name="connsiteY1" fmla="*/ 709815 h 725536"/>
                <a:gd name="connsiteX2" fmla="*/ 333221 w 399931"/>
                <a:gd name="connsiteY2" fmla="*/ 604018 h 725536"/>
                <a:gd name="connsiteX3" fmla="*/ 294025 w 399931"/>
                <a:gd name="connsiteY3" fmla="*/ 498221 h 725536"/>
                <a:gd name="connsiteX4" fmla="*/ 180367 w 399931"/>
                <a:gd name="connsiteY4" fmla="*/ 94469 h 725536"/>
                <a:gd name="connsiteX5" fmla="*/ 156894 w 399931"/>
                <a:gd name="connsiteY5" fmla="*/ 8215 h 725536"/>
                <a:gd name="connsiteX6" fmla="*/ 141171 w 399931"/>
                <a:gd name="connsiteY6" fmla="*/ 4285 h 725536"/>
                <a:gd name="connsiteX7" fmla="*/ 43127 w 399931"/>
                <a:gd name="connsiteY7" fmla="*/ 184653 h 725536"/>
                <a:gd name="connsiteX8" fmla="*/ 0 w 399931"/>
                <a:gd name="connsiteY8" fmla="*/ 423760 h 725536"/>
                <a:gd name="connsiteX9" fmla="*/ 19653 w 399931"/>
                <a:gd name="connsiteY9" fmla="*/ 580544 h 725536"/>
                <a:gd name="connsiteX10" fmla="*/ 54918 w 399931"/>
                <a:gd name="connsiteY10" fmla="*/ 615810 h 725536"/>
                <a:gd name="connsiteX11" fmla="*/ 399931 w 399931"/>
                <a:gd name="connsiteY11" fmla="*/ 725537 h 72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9931" h="725536">
                  <a:moveTo>
                    <a:pt x="399931" y="725537"/>
                  </a:moveTo>
                  <a:cubicBezTo>
                    <a:pt x="396001" y="721606"/>
                    <a:pt x="392070" y="717676"/>
                    <a:pt x="392070" y="709815"/>
                  </a:cubicBezTo>
                  <a:cubicBezTo>
                    <a:pt x="364666" y="678480"/>
                    <a:pt x="348943" y="639284"/>
                    <a:pt x="333221" y="604018"/>
                  </a:cubicBezTo>
                  <a:cubicBezTo>
                    <a:pt x="321430" y="568752"/>
                    <a:pt x="305817" y="533487"/>
                    <a:pt x="294025" y="498221"/>
                  </a:cubicBezTo>
                  <a:cubicBezTo>
                    <a:pt x="254829" y="388494"/>
                    <a:pt x="215633" y="255184"/>
                    <a:pt x="180367" y="94469"/>
                  </a:cubicBezTo>
                  <a:cubicBezTo>
                    <a:pt x="168576" y="63134"/>
                    <a:pt x="164645" y="31799"/>
                    <a:pt x="156894" y="8215"/>
                  </a:cubicBezTo>
                  <a:cubicBezTo>
                    <a:pt x="156894" y="354"/>
                    <a:pt x="145102" y="-3576"/>
                    <a:pt x="141171" y="4285"/>
                  </a:cubicBezTo>
                  <a:cubicBezTo>
                    <a:pt x="98045" y="59203"/>
                    <a:pt x="66710" y="121873"/>
                    <a:pt x="43127" y="184653"/>
                  </a:cubicBezTo>
                  <a:cubicBezTo>
                    <a:pt x="15722" y="263045"/>
                    <a:pt x="0" y="341437"/>
                    <a:pt x="0" y="423760"/>
                  </a:cubicBezTo>
                  <a:cubicBezTo>
                    <a:pt x="0" y="474747"/>
                    <a:pt x="7861" y="529556"/>
                    <a:pt x="19653" y="580544"/>
                  </a:cubicBezTo>
                  <a:cubicBezTo>
                    <a:pt x="23583" y="596266"/>
                    <a:pt x="35375" y="611879"/>
                    <a:pt x="54918" y="615810"/>
                  </a:cubicBezTo>
                  <a:lnTo>
                    <a:pt x="399931" y="725537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0904314A-1982-4255-D4F7-35B34FB84D36}"/>
                </a:ext>
              </a:extLst>
            </p:cNvPr>
            <p:cNvSpPr/>
            <p:nvPr/>
          </p:nvSpPr>
          <p:spPr>
            <a:xfrm>
              <a:off x="2406436" y="2594344"/>
              <a:ext cx="651930" cy="410202"/>
            </a:xfrm>
            <a:custGeom>
              <a:avLst/>
              <a:gdLst>
                <a:gd name="connsiteX0" fmla="*/ 650830 w 651930"/>
                <a:gd name="connsiteY0" fmla="*/ 397475 h 410202"/>
                <a:gd name="connsiteX1" fmla="*/ 466532 w 651930"/>
                <a:gd name="connsiteY1" fmla="*/ 142645 h 410202"/>
                <a:gd name="connsiteX2" fmla="*/ 211703 w 651930"/>
                <a:gd name="connsiteY2" fmla="*/ 1474 h 410202"/>
                <a:gd name="connsiteX3" fmla="*/ 164645 w 651930"/>
                <a:gd name="connsiteY3" fmla="*/ 13266 h 410202"/>
                <a:gd name="connsiteX4" fmla="*/ 0 w 651930"/>
                <a:gd name="connsiteY4" fmla="*/ 166119 h 410202"/>
                <a:gd name="connsiteX5" fmla="*/ 35266 w 651930"/>
                <a:gd name="connsiteY5" fmla="*/ 150397 h 410202"/>
                <a:gd name="connsiteX6" fmla="*/ 458671 w 651930"/>
                <a:gd name="connsiteY6" fmla="*/ 350308 h 410202"/>
                <a:gd name="connsiteX7" fmla="*/ 646899 w 651930"/>
                <a:gd name="connsiteY7" fmla="*/ 409157 h 410202"/>
                <a:gd name="connsiteX8" fmla="*/ 650830 w 651930"/>
                <a:gd name="connsiteY8" fmla="*/ 397365 h 41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1930" h="410202">
                  <a:moveTo>
                    <a:pt x="650830" y="397475"/>
                  </a:moveTo>
                  <a:cubicBezTo>
                    <a:pt x="611634" y="299430"/>
                    <a:pt x="544924" y="213177"/>
                    <a:pt x="466532" y="142645"/>
                  </a:cubicBezTo>
                  <a:cubicBezTo>
                    <a:pt x="392070" y="76045"/>
                    <a:pt x="305817" y="28988"/>
                    <a:pt x="211703" y="1474"/>
                  </a:cubicBezTo>
                  <a:cubicBezTo>
                    <a:pt x="195980" y="-2457"/>
                    <a:pt x="176437" y="1474"/>
                    <a:pt x="164645" y="13266"/>
                  </a:cubicBezTo>
                  <a:lnTo>
                    <a:pt x="0" y="166119"/>
                  </a:lnTo>
                  <a:lnTo>
                    <a:pt x="35266" y="150397"/>
                  </a:lnTo>
                  <a:lnTo>
                    <a:pt x="458671" y="350308"/>
                  </a:lnTo>
                  <a:lnTo>
                    <a:pt x="646899" y="409157"/>
                  </a:lnTo>
                  <a:cubicBezTo>
                    <a:pt x="646899" y="413088"/>
                    <a:pt x="654760" y="405227"/>
                    <a:pt x="650830" y="39736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/>
            </a:p>
          </p:txBody>
        </p:sp>
      </p:grpSp>
      <p:sp>
        <p:nvSpPr>
          <p:cNvPr id="46" name="Vrije vorm: vorm 45">
            <a:extLst>
              <a:ext uri="{FF2B5EF4-FFF2-40B4-BE49-F238E27FC236}">
                <a16:creationId xmlns:a16="http://schemas.microsoft.com/office/drawing/2014/main" id="{423BB26A-D00D-F753-C56F-2D7D21BEB10F}"/>
              </a:ext>
            </a:extLst>
          </p:cNvPr>
          <p:cNvSpPr/>
          <p:nvPr/>
        </p:nvSpPr>
        <p:spPr>
          <a:xfrm>
            <a:off x="4978664" y="1843546"/>
            <a:ext cx="1331858" cy="881662"/>
          </a:xfrm>
          <a:custGeom>
            <a:avLst/>
            <a:gdLst>
              <a:gd name="connsiteX0" fmla="*/ 577951 w 586166"/>
              <a:gd name="connsiteY0" fmla="*/ 3931 h 388030"/>
              <a:gd name="connsiteX1" fmla="*/ 491698 w 586166"/>
              <a:gd name="connsiteY1" fmla="*/ 0 h 388030"/>
              <a:gd name="connsiteX2" fmla="*/ 205425 w 586166"/>
              <a:gd name="connsiteY2" fmla="*/ 62670 h 388030"/>
              <a:gd name="connsiteX3" fmla="*/ 13266 w 586166"/>
              <a:gd name="connsiteY3" fmla="*/ 184189 h 388030"/>
              <a:gd name="connsiteX4" fmla="*/ 1474 w 586166"/>
              <a:gd name="connsiteY4" fmla="*/ 235177 h 388030"/>
              <a:gd name="connsiteX5" fmla="*/ 36740 w 586166"/>
              <a:gd name="connsiteY5" fmla="*/ 388030 h 388030"/>
              <a:gd name="connsiteX6" fmla="*/ 323013 w 586166"/>
              <a:gd name="connsiteY6" fmla="*/ 258651 h 388030"/>
              <a:gd name="connsiteX7" fmla="*/ 581882 w 586166"/>
              <a:gd name="connsiteY7" fmla="*/ 19653 h 388030"/>
              <a:gd name="connsiteX8" fmla="*/ 577951 w 586166"/>
              <a:gd name="connsiteY8" fmla="*/ 3931 h 38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166" h="388030">
                <a:moveTo>
                  <a:pt x="577951" y="3931"/>
                </a:moveTo>
                <a:cubicBezTo>
                  <a:pt x="550547" y="0"/>
                  <a:pt x="519102" y="0"/>
                  <a:pt x="491698" y="0"/>
                </a:cubicBezTo>
                <a:cubicBezTo>
                  <a:pt x="389723" y="0"/>
                  <a:pt x="295608" y="19653"/>
                  <a:pt x="205425" y="62670"/>
                </a:cubicBezTo>
                <a:cubicBezTo>
                  <a:pt x="134893" y="90075"/>
                  <a:pt x="72114" y="133201"/>
                  <a:pt x="13266" y="184189"/>
                </a:cubicBezTo>
                <a:cubicBezTo>
                  <a:pt x="1474" y="199911"/>
                  <a:pt x="-2457" y="215524"/>
                  <a:pt x="1474" y="235177"/>
                </a:cubicBezTo>
                <a:lnTo>
                  <a:pt x="36740" y="388030"/>
                </a:lnTo>
                <a:lnTo>
                  <a:pt x="323013" y="258651"/>
                </a:lnTo>
                <a:lnTo>
                  <a:pt x="581882" y="19653"/>
                </a:lnTo>
                <a:cubicBezTo>
                  <a:pt x="589743" y="15722"/>
                  <a:pt x="585812" y="3931"/>
                  <a:pt x="577951" y="3931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Vrije vorm: vorm 46">
            <a:extLst>
              <a:ext uri="{FF2B5EF4-FFF2-40B4-BE49-F238E27FC236}">
                <a16:creationId xmlns:a16="http://schemas.microsoft.com/office/drawing/2014/main" id="{F45B0EDD-A17B-37C1-095D-B8A7E8102DAC}"/>
              </a:ext>
            </a:extLst>
          </p:cNvPr>
          <p:cNvSpPr/>
          <p:nvPr/>
        </p:nvSpPr>
        <p:spPr>
          <a:xfrm>
            <a:off x="7093639" y="2867852"/>
            <a:ext cx="597119" cy="1523992"/>
          </a:xfrm>
          <a:custGeom>
            <a:avLst/>
            <a:gdLst>
              <a:gd name="connsiteX0" fmla="*/ 43127 w 262799"/>
              <a:gd name="connsiteY0" fmla="*/ 0 h 670727"/>
              <a:gd name="connsiteX1" fmla="*/ 0 w 262799"/>
              <a:gd name="connsiteY1" fmla="*/ 211703 h 670727"/>
              <a:gd name="connsiteX2" fmla="*/ 101975 w 262799"/>
              <a:gd name="connsiteY2" fmla="*/ 662512 h 670727"/>
              <a:gd name="connsiteX3" fmla="*/ 121628 w 262799"/>
              <a:gd name="connsiteY3" fmla="*/ 666443 h 670727"/>
              <a:gd name="connsiteX4" fmla="*/ 219673 w 262799"/>
              <a:gd name="connsiteY4" fmla="*/ 486075 h 670727"/>
              <a:gd name="connsiteX5" fmla="*/ 262799 w 262799"/>
              <a:gd name="connsiteY5" fmla="*/ 246968 h 670727"/>
              <a:gd name="connsiteX6" fmla="*/ 243256 w 262799"/>
              <a:gd name="connsiteY6" fmla="*/ 86253 h 670727"/>
              <a:gd name="connsiteX7" fmla="*/ 207990 w 262799"/>
              <a:gd name="connsiteY7" fmla="*/ 50988 h 670727"/>
              <a:gd name="connsiteX8" fmla="*/ 43345 w 262799"/>
              <a:gd name="connsiteY8" fmla="*/ 0 h 670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799" h="670727">
                <a:moveTo>
                  <a:pt x="43127" y="0"/>
                </a:moveTo>
                <a:cubicBezTo>
                  <a:pt x="35266" y="47057"/>
                  <a:pt x="19653" y="125449"/>
                  <a:pt x="0" y="211703"/>
                </a:cubicBezTo>
                <a:lnTo>
                  <a:pt x="101975" y="662512"/>
                </a:lnTo>
                <a:cubicBezTo>
                  <a:pt x="101975" y="670373"/>
                  <a:pt x="113767" y="674304"/>
                  <a:pt x="121628" y="666443"/>
                </a:cubicBezTo>
                <a:cubicBezTo>
                  <a:pt x="164755" y="611525"/>
                  <a:pt x="196090" y="548855"/>
                  <a:pt x="219673" y="486075"/>
                </a:cubicBezTo>
                <a:cubicBezTo>
                  <a:pt x="247077" y="407683"/>
                  <a:pt x="262799" y="329291"/>
                  <a:pt x="262799" y="246968"/>
                </a:cubicBezTo>
                <a:cubicBezTo>
                  <a:pt x="262799" y="192050"/>
                  <a:pt x="254938" y="141171"/>
                  <a:pt x="243256" y="86253"/>
                </a:cubicBezTo>
                <a:cubicBezTo>
                  <a:pt x="239325" y="70531"/>
                  <a:pt x="227534" y="54918"/>
                  <a:pt x="207990" y="50988"/>
                </a:cubicBezTo>
                <a:lnTo>
                  <a:pt x="43345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48" name="Vrije vorm: vorm 47">
            <a:extLst>
              <a:ext uri="{FF2B5EF4-FFF2-40B4-BE49-F238E27FC236}">
                <a16:creationId xmlns:a16="http://schemas.microsoft.com/office/drawing/2014/main" id="{0CF50887-5BC9-A496-4813-13DD0DB12117}"/>
              </a:ext>
            </a:extLst>
          </p:cNvPr>
          <p:cNvSpPr/>
          <p:nvPr/>
        </p:nvSpPr>
        <p:spPr>
          <a:xfrm>
            <a:off x="5881476" y="3624732"/>
            <a:ext cx="1321812" cy="1389722"/>
          </a:xfrm>
          <a:custGeom>
            <a:avLst/>
            <a:gdLst>
              <a:gd name="connsiteX0" fmla="*/ 498221 w 581745"/>
              <a:gd name="connsiteY0" fmla="*/ 109 h 611633"/>
              <a:gd name="connsiteX1" fmla="*/ 470817 w 581745"/>
              <a:gd name="connsiteY1" fmla="*/ 86362 h 611633"/>
              <a:gd name="connsiteX2" fmla="*/ 259114 w 581745"/>
              <a:gd name="connsiteY2" fmla="*/ 372527 h 611633"/>
              <a:gd name="connsiteX3" fmla="*/ 172861 w 581745"/>
              <a:gd name="connsiteY3" fmla="*/ 439127 h 611633"/>
              <a:gd name="connsiteX4" fmla="*/ 125804 w 581745"/>
              <a:gd name="connsiteY4" fmla="*/ 478323 h 611633"/>
              <a:gd name="connsiteX5" fmla="*/ 4285 w 581745"/>
              <a:gd name="connsiteY5" fmla="*/ 591981 h 611633"/>
              <a:gd name="connsiteX6" fmla="*/ 8215 w 581745"/>
              <a:gd name="connsiteY6" fmla="*/ 607703 h 611633"/>
              <a:gd name="connsiteX7" fmla="*/ 94469 w 581745"/>
              <a:gd name="connsiteY7" fmla="*/ 611634 h 611633"/>
              <a:gd name="connsiteX8" fmla="*/ 380742 w 581745"/>
              <a:gd name="connsiteY8" fmla="*/ 548855 h 611633"/>
              <a:gd name="connsiteX9" fmla="*/ 565040 w 581745"/>
              <a:gd name="connsiteY9" fmla="*/ 427336 h 611633"/>
              <a:gd name="connsiteX10" fmla="*/ 580762 w 581745"/>
              <a:gd name="connsiteY10" fmla="*/ 380279 h 611633"/>
              <a:gd name="connsiteX11" fmla="*/ 498439 w 581745"/>
              <a:gd name="connsiteY11" fmla="*/ 0 h 611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1745" h="611633">
                <a:moveTo>
                  <a:pt x="498221" y="109"/>
                </a:moveTo>
                <a:cubicBezTo>
                  <a:pt x="490360" y="31444"/>
                  <a:pt x="478568" y="58958"/>
                  <a:pt x="470817" y="86362"/>
                </a:cubicBezTo>
                <a:cubicBezTo>
                  <a:pt x="427690" y="196090"/>
                  <a:pt x="357159" y="290204"/>
                  <a:pt x="259114" y="372527"/>
                </a:cubicBezTo>
                <a:cubicBezTo>
                  <a:pt x="231710" y="396001"/>
                  <a:pt x="204196" y="415653"/>
                  <a:pt x="172861" y="439127"/>
                </a:cubicBezTo>
                <a:cubicBezTo>
                  <a:pt x="157139" y="450919"/>
                  <a:pt x="141526" y="462601"/>
                  <a:pt x="125804" y="478323"/>
                </a:cubicBezTo>
                <a:cubicBezTo>
                  <a:pt x="102330" y="501797"/>
                  <a:pt x="51342" y="548855"/>
                  <a:pt x="4285" y="591981"/>
                </a:cubicBezTo>
                <a:cubicBezTo>
                  <a:pt x="-3576" y="595912"/>
                  <a:pt x="354" y="607703"/>
                  <a:pt x="8215" y="607703"/>
                </a:cubicBezTo>
                <a:cubicBezTo>
                  <a:pt x="35620" y="611634"/>
                  <a:pt x="63134" y="611634"/>
                  <a:pt x="94469" y="611634"/>
                </a:cubicBezTo>
                <a:cubicBezTo>
                  <a:pt x="196444" y="611634"/>
                  <a:pt x="290558" y="591981"/>
                  <a:pt x="380742" y="548855"/>
                </a:cubicBezTo>
                <a:cubicBezTo>
                  <a:pt x="447343" y="517519"/>
                  <a:pt x="510122" y="478323"/>
                  <a:pt x="565040" y="427336"/>
                </a:cubicBezTo>
                <a:cubicBezTo>
                  <a:pt x="576832" y="415544"/>
                  <a:pt x="584583" y="396001"/>
                  <a:pt x="580762" y="380279"/>
                </a:cubicBezTo>
                <a:lnTo>
                  <a:pt x="498439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49" name="Vrije vorm: vorm 48">
            <a:extLst>
              <a:ext uri="{FF2B5EF4-FFF2-40B4-BE49-F238E27FC236}">
                <a16:creationId xmlns:a16="http://schemas.microsoft.com/office/drawing/2014/main" id="{7F1E09A7-2194-B9C6-2773-908C1AEB9051}"/>
              </a:ext>
            </a:extLst>
          </p:cNvPr>
          <p:cNvSpPr/>
          <p:nvPr/>
        </p:nvSpPr>
        <p:spPr>
          <a:xfrm>
            <a:off x="4632579" y="4023497"/>
            <a:ext cx="1383167" cy="923359"/>
          </a:xfrm>
          <a:custGeom>
            <a:avLst/>
            <a:gdLst>
              <a:gd name="connsiteX0" fmla="*/ 608749 w 608748"/>
              <a:gd name="connsiteY0" fmla="*/ 283279 h 406381"/>
              <a:gd name="connsiteX1" fmla="*/ 404907 w 608748"/>
              <a:gd name="connsiteY1" fmla="*/ 122564 h 406381"/>
              <a:gd name="connsiteX2" fmla="*/ 12837 w 608748"/>
              <a:gd name="connsiteY2" fmla="*/ 1045 h 406381"/>
              <a:gd name="connsiteX3" fmla="*/ 1045 w 608748"/>
              <a:gd name="connsiteY3" fmla="*/ 12837 h 406381"/>
              <a:gd name="connsiteX4" fmla="*/ 185343 w 608748"/>
              <a:gd name="connsiteY4" fmla="*/ 267666 h 406381"/>
              <a:gd name="connsiteX5" fmla="*/ 436242 w 608748"/>
              <a:gd name="connsiteY5" fmla="*/ 404907 h 406381"/>
              <a:gd name="connsiteX6" fmla="*/ 487230 w 608748"/>
              <a:gd name="connsiteY6" fmla="*/ 393116 h 406381"/>
              <a:gd name="connsiteX7" fmla="*/ 608749 w 608748"/>
              <a:gd name="connsiteY7" fmla="*/ 283388 h 40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8748" h="406381">
                <a:moveTo>
                  <a:pt x="608749" y="283279"/>
                </a:moveTo>
                <a:cubicBezTo>
                  <a:pt x="561691" y="259805"/>
                  <a:pt x="479369" y="208818"/>
                  <a:pt x="404907" y="122564"/>
                </a:cubicBezTo>
                <a:lnTo>
                  <a:pt x="12837" y="1045"/>
                </a:lnTo>
                <a:cubicBezTo>
                  <a:pt x="4976" y="-2885"/>
                  <a:pt x="-2885" y="4976"/>
                  <a:pt x="1045" y="12837"/>
                </a:cubicBezTo>
                <a:cubicBezTo>
                  <a:pt x="40242" y="110882"/>
                  <a:pt x="103021" y="197135"/>
                  <a:pt x="185343" y="267666"/>
                </a:cubicBezTo>
                <a:cubicBezTo>
                  <a:pt x="259805" y="330336"/>
                  <a:pt x="346058" y="377394"/>
                  <a:pt x="436242" y="404907"/>
                </a:cubicBezTo>
                <a:cubicBezTo>
                  <a:pt x="451964" y="408838"/>
                  <a:pt x="471508" y="404907"/>
                  <a:pt x="487230" y="393116"/>
                </a:cubicBezTo>
                <a:lnTo>
                  <a:pt x="608749" y="283388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50" name="Vrije vorm: vorm 49">
            <a:extLst>
              <a:ext uri="{FF2B5EF4-FFF2-40B4-BE49-F238E27FC236}">
                <a16:creationId xmlns:a16="http://schemas.microsoft.com/office/drawing/2014/main" id="{92152C32-67E1-25EB-978F-202B85076DFB}"/>
              </a:ext>
            </a:extLst>
          </p:cNvPr>
          <p:cNvSpPr/>
          <p:nvPr/>
        </p:nvSpPr>
        <p:spPr>
          <a:xfrm>
            <a:off x="4501242" y="2466404"/>
            <a:ext cx="908704" cy="1648527"/>
          </a:xfrm>
          <a:custGeom>
            <a:avLst/>
            <a:gdLst>
              <a:gd name="connsiteX0" fmla="*/ 399931 w 399931"/>
              <a:gd name="connsiteY0" fmla="*/ 725537 h 725536"/>
              <a:gd name="connsiteX1" fmla="*/ 392070 w 399931"/>
              <a:gd name="connsiteY1" fmla="*/ 709815 h 725536"/>
              <a:gd name="connsiteX2" fmla="*/ 333221 w 399931"/>
              <a:gd name="connsiteY2" fmla="*/ 604018 h 725536"/>
              <a:gd name="connsiteX3" fmla="*/ 294025 w 399931"/>
              <a:gd name="connsiteY3" fmla="*/ 498221 h 725536"/>
              <a:gd name="connsiteX4" fmla="*/ 180367 w 399931"/>
              <a:gd name="connsiteY4" fmla="*/ 94469 h 725536"/>
              <a:gd name="connsiteX5" fmla="*/ 156894 w 399931"/>
              <a:gd name="connsiteY5" fmla="*/ 8215 h 725536"/>
              <a:gd name="connsiteX6" fmla="*/ 141171 w 399931"/>
              <a:gd name="connsiteY6" fmla="*/ 4285 h 725536"/>
              <a:gd name="connsiteX7" fmla="*/ 43127 w 399931"/>
              <a:gd name="connsiteY7" fmla="*/ 184653 h 725536"/>
              <a:gd name="connsiteX8" fmla="*/ 0 w 399931"/>
              <a:gd name="connsiteY8" fmla="*/ 423760 h 725536"/>
              <a:gd name="connsiteX9" fmla="*/ 19653 w 399931"/>
              <a:gd name="connsiteY9" fmla="*/ 580544 h 725536"/>
              <a:gd name="connsiteX10" fmla="*/ 54918 w 399931"/>
              <a:gd name="connsiteY10" fmla="*/ 615810 h 725536"/>
              <a:gd name="connsiteX11" fmla="*/ 399931 w 399931"/>
              <a:gd name="connsiteY11" fmla="*/ 725537 h 7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9931" h="725536">
                <a:moveTo>
                  <a:pt x="399931" y="725537"/>
                </a:moveTo>
                <a:cubicBezTo>
                  <a:pt x="396001" y="721606"/>
                  <a:pt x="392070" y="717676"/>
                  <a:pt x="392070" y="709815"/>
                </a:cubicBezTo>
                <a:cubicBezTo>
                  <a:pt x="364666" y="678480"/>
                  <a:pt x="348943" y="639284"/>
                  <a:pt x="333221" y="604018"/>
                </a:cubicBezTo>
                <a:cubicBezTo>
                  <a:pt x="321430" y="568752"/>
                  <a:pt x="305817" y="533487"/>
                  <a:pt x="294025" y="498221"/>
                </a:cubicBezTo>
                <a:cubicBezTo>
                  <a:pt x="254829" y="388494"/>
                  <a:pt x="215633" y="255184"/>
                  <a:pt x="180367" y="94469"/>
                </a:cubicBezTo>
                <a:cubicBezTo>
                  <a:pt x="168576" y="63134"/>
                  <a:pt x="164645" y="31799"/>
                  <a:pt x="156894" y="8215"/>
                </a:cubicBezTo>
                <a:cubicBezTo>
                  <a:pt x="156894" y="354"/>
                  <a:pt x="145102" y="-3576"/>
                  <a:pt x="141171" y="4285"/>
                </a:cubicBezTo>
                <a:cubicBezTo>
                  <a:pt x="98045" y="59203"/>
                  <a:pt x="66710" y="121873"/>
                  <a:pt x="43127" y="184653"/>
                </a:cubicBezTo>
                <a:cubicBezTo>
                  <a:pt x="15722" y="263045"/>
                  <a:pt x="0" y="341437"/>
                  <a:pt x="0" y="423760"/>
                </a:cubicBezTo>
                <a:cubicBezTo>
                  <a:pt x="0" y="474747"/>
                  <a:pt x="7861" y="529556"/>
                  <a:pt x="19653" y="580544"/>
                </a:cubicBezTo>
                <a:cubicBezTo>
                  <a:pt x="23583" y="596266"/>
                  <a:pt x="35375" y="611879"/>
                  <a:pt x="54918" y="615810"/>
                </a:cubicBezTo>
                <a:lnTo>
                  <a:pt x="399931" y="725537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51" name="Vrije vorm: vorm 50">
            <a:extLst>
              <a:ext uri="{FF2B5EF4-FFF2-40B4-BE49-F238E27FC236}">
                <a16:creationId xmlns:a16="http://schemas.microsoft.com/office/drawing/2014/main" id="{43E1A32D-7566-4E12-6CA9-5C9DFBFA87F0}"/>
              </a:ext>
            </a:extLst>
          </p:cNvPr>
          <p:cNvSpPr/>
          <p:nvPr/>
        </p:nvSpPr>
        <p:spPr>
          <a:xfrm>
            <a:off x="6078262" y="1902463"/>
            <a:ext cx="1481283" cy="932040"/>
          </a:xfrm>
          <a:custGeom>
            <a:avLst/>
            <a:gdLst>
              <a:gd name="connsiteX0" fmla="*/ 650830 w 651930"/>
              <a:gd name="connsiteY0" fmla="*/ 397475 h 410202"/>
              <a:gd name="connsiteX1" fmla="*/ 466532 w 651930"/>
              <a:gd name="connsiteY1" fmla="*/ 142645 h 410202"/>
              <a:gd name="connsiteX2" fmla="*/ 211703 w 651930"/>
              <a:gd name="connsiteY2" fmla="*/ 1474 h 410202"/>
              <a:gd name="connsiteX3" fmla="*/ 164645 w 651930"/>
              <a:gd name="connsiteY3" fmla="*/ 13266 h 410202"/>
              <a:gd name="connsiteX4" fmla="*/ 0 w 651930"/>
              <a:gd name="connsiteY4" fmla="*/ 166119 h 410202"/>
              <a:gd name="connsiteX5" fmla="*/ 35266 w 651930"/>
              <a:gd name="connsiteY5" fmla="*/ 150397 h 410202"/>
              <a:gd name="connsiteX6" fmla="*/ 458671 w 651930"/>
              <a:gd name="connsiteY6" fmla="*/ 350308 h 410202"/>
              <a:gd name="connsiteX7" fmla="*/ 646899 w 651930"/>
              <a:gd name="connsiteY7" fmla="*/ 409157 h 410202"/>
              <a:gd name="connsiteX8" fmla="*/ 650830 w 651930"/>
              <a:gd name="connsiteY8" fmla="*/ 397365 h 41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1930" h="410202">
                <a:moveTo>
                  <a:pt x="650830" y="397475"/>
                </a:moveTo>
                <a:cubicBezTo>
                  <a:pt x="611634" y="299430"/>
                  <a:pt x="544924" y="213177"/>
                  <a:pt x="466532" y="142645"/>
                </a:cubicBezTo>
                <a:cubicBezTo>
                  <a:pt x="392070" y="76045"/>
                  <a:pt x="305817" y="28988"/>
                  <a:pt x="211703" y="1474"/>
                </a:cubicBezTo>
                <a:cubicBezTo>
                  <a:pt x="195980" y="-2457"/>
                  <a:pt x="176437" y="1474"/>
                  <a:pt x="164645" y="13266"/>
                </a:cubicBezTo>
                <a:lnTo>
                  <a:pt x="0" y="166119"/>
                </a:lnTo>
                <a:lnTo>
                  <a:pt x="35266" y="150397"/>
                </a:lnTo>
                <a:lnTo>
                  <a:pt x="458671" y="350308"/>
                </a:lnTo>
                <a:lnTo>
                  <a:pt x="646899" y="409157"/>
                </a:lnTo>
                <a:cubicBezTo>
                  <a:pt x="646899" y="413088"/>
                  <a:pt x="654760" y="405227"/>
                  <a:pt x="650830" y="397365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52" name="Vrije vorm: vorm 51">
            <a:extLst>
              <a:ext uri="{FF2B5EF4-FFF2-40B4-BE49-F238E27FC236}">
                <a16:creationId xmlns:a16="http://schemas.microsoft.com/office/drawing/2014/main" id="{3BE97C48-DFFC-D8FC-5FC1-D7C8E95A3B3A}"/>
              </a:ext>
            </a:extLst>
          </p:cNvPr>
          <p:cNvSpPr/>
          <p:nvPr/>
        </p:nvSpPr>
        <p:spPr>
          <a:xfrm>
            <a:off x="5472459" y="2785829"/>
            <a:ext cx="1275097" cy="1317145"/>
          </a:xfrm>
          <a:custGeom>
            <a:avLst/>
            <a:gdLst>
              <a:gd name="connsiteX0" fmla="*/ 560646 w 561185"/>
              <a:gd name="connsiteY0" fmla="*/ 443783 h 579691"/>
              <a:gd name="connsiteX1" fmla="*/ 560646 w 561185"/>
              <a:gd name="connsiteY1" fmla="*/ 98770 h 579691"/>
              <a:gd name="connsiteX2" fmla="*/ 552785 w 561185"/>
              <a:gd name="connsiteY2" fmla="*/ 86978 h 579691"/>
              <a:gd name="connsiteX3" fmla="*/ 540993 w 561185"/>
              <a:gd name="connsiteY3" fmla="*/ 83048 h 579691"/>
              <a:gd name="connsiteX4" fmla="*/ 533132 w 561185"/>
              <a:gd name="connsiteY4" fmla="*/ 86978 h 579691"/>
              <a:gd name="connsiteX5" fmla="*/ 521341 w 561185"/>
              <a:gd name="connsiteY5" fmla="*/ 98770 h 579691"/>
              <a:gd name="connsiteX6" fmla="*/ 525271 w 561185"/>
              <a:gd name="connsiteY6" fmla="*/ 110561 h 579691"/>
              <a:gd name="connsiteX7" fmla="*/ 533132 w 561185"/>
              <a:gd name="connsiteY7" fmla="*/ 118422 h 579691"/>
              <a:gd name="connsiteX8" fmla="*/ 533132 w 561185"/>
              <a:gd name="connsiteY8" fmla="*/ 396726 h 579691"/>
              <a:gd name="connsiteX9" fmla="*/ 525271 w 561185"/>
              <a:gd name="connsiteY9" fmla="*/ 404587 h 579691"/>
              <a:gd name="connsiteX10" fmla="*/ 74352 w 561185"/>
              <a:gd name="connsiteY10" fmla="*/ 431991 h 579691"/>
              <a:gd name="connsiteX11" fmla="*/ 66491 w 561185"/>
              <a:gd name="connsiteY11" fmla="*/ 424130 h 579691"/>
              <a:gd name="connsiteX12" fmla="*/ 66491 w 561185"/>
              <a:gd name="connsiteY12" fmla="*/ 51713 h 579691"/>
              <a:gd name="connsiteX13" fmla="*/ 74352 w 561185"/>
              <a:gd name="connsiteY13" fmla="*/ 43852 h 579691"/>
              <a:gd name="connsiteX14" fmla="*/ 348834 w 561185"/>
              <a:gd name="connsiteY14" fmla="*/ 86978 h 579691"/>
              <a:gd name="connsiteX15" fmla="*/ 356695 w 561185"/>
              <a:gd name="connsiteY15" fmla="*/ 83048 h 579691"/>
              <a:gd name="connsiteX16" fmla="*/ 368487 w 561185"/>
              <a:gd name="connsiteY16" fmla="*/ 67326 h 579691"/>
              <a:gd name="connsiteX17" fmla="*/ 364556 w 561185"/>
              <a:gd name="connsiteY17" fmla="*/ 55534 h 579691"/>
              <a:gd name="connsiteX18" fmla="*/ 31335 w 561185"/>
              <a:gd name="connsiteY18" fmla="*/ 616 h 579691"/>
              <a:gd name="connsiteX19" fmla="*/ 0 w 561185"/>
              <a:gd name="connsiteY19" fmla="*/ 24090 h 579691"/>
              <a:gd name="connsiteX20" fmla="*/ 0 w 561185"/>
              <a:gd name="connsiteY20" fmla="*/ 498373 h 579691"/>
              <a:gd name="connsiteX21" fmla="*/ 19653 w 561185"/>
              <a:gd name="connsiteY21" fmla="*/ 514096 h 579691"/>
              <a:gd name="connsiteX22" fmla="*/ 254938 w 561185"/>
              <a:gd name="connsiteY22" fmla="*/ 494443 h 579691"/>
              <a:gd name="connsiteX23" fmla="*/ 262799 w 561185"/>
              <a:gd name="connsiteY23" fmla="*/ 502304 h 579691"/>
              <a:gd name="connsiteX24" fmla="*/ 258869 w 561185"/>
              <a:gd name="connsiteY24" fmla="*/ 529708 h 579691"/>
              <a:gd name="connsiteX25" fmla="*/ 251008 w 561185"/>
              <a:gd name="connsiteY25" fmla="*/ 537570 h 579691"/>
              <a:gd name="connsiteX26" fmla="*/ 188229 w 561185"/>
              <a:gd name="connsiteY26" fmla="*/ 564974 h 579691"/>
              <a:gd name="connsiteX27" fmla="*/ 333330 w 561185"/>
              <a:gd name="connsiteY27" fmla="*/ 572835 h 579691"/>
              <a:gd name="connsiteX28" fmla="*/ 439236 w 561185"/>
              <a:gd name="connsiteY28" fmla="*/ 541500 h 579691"/>
              <a:gd name="connsiteX29" fmla="*/ 372636 w 561185"/>
              <a:gd name="connsiteY29" fmla="*/ 525778 h 579691"/>
              <a:gd name="connsiteX30" fmla="*/ 364775 w 561185"/>
              <a:gd name="connsiteY30" fmla="*/ 517917 h 579691"/>
              <a:gd name="connsiteX31" fmla="*/ 364775 w 561185"/>
              <a:gd name="connsiteY31" fmla="*/ 494443 h 579691"/>
              <a:gd name="connsiteX32" fmla="*/ 372636 w 561185"/>
              <a:gd name="connsiteY32" fmla="*/ 486582 h 579691"/>
              <a:gd name="connsiteX33" fmla="*/ 545142 w 561185"/>
              <a:gd name="connsiteY33" fmla="*/ 470860 h 579691"/>
              <a:gd name="connsiteX34" fmla="*/ 560864 w 561185"/>
              <a:gd name="connsiteY34" fmla="*/ 443455 h 57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61185" h="579691">
                <a:moveTo>
                  <a:pt x="560646" y="443783"/>
                </a:moveTo>
                <a:lnTo>
                  <a:pt x="560646" y="98770"/>
                </a:lnTo>
                <a:cubicBezTo>
                  <a:pt x="560646" y="90909"/>
                  <a:pt x="556715" y="86978"/>
                  <a:pt x="552785" y="86978"/>
                </a:cubicBezTo>
                <a:lnTo>
                  <a:pt x="540993" y="83048"/>
                </a:lnTo>
                <a:cubicBezTo>
                  <a:pt x="538373" y="83048"/>
                  <a:pt x="535753" y="84358"/>
                  <a:pt x="533132" y="86978"/>
                </a:cubicBezTo>
                <a:cubicBezTo>
                  <a:pt x="529202" y="90909"/>
                  <a:pt x="525271" y="94839"/>
                  <a:pt x="521341" y="98770"/>
                </a:cubicBezTo>
                <a:cubicBezTo>
                  <a:pt x="517410" y="102700"/>
                  <a:pt x="521341" y="110561"/>
                  <a:pt x="525271" y="110561"/>
                </a:cubicBezTo>
                <a:cubicBezTo>
                  <a:pt x="529202" y="110561"/>
                  <a:pt x="533132" y="114492"/>
                  <a:pt x="533132" y="118422"/>
                </a:cubicBezTo>
                <a:lnTo>
                  <a:pt x="533132" y="396726"/>
                </a:lnTo>
                <a:cubicBezTo>
                  <a:pt x="533132" y="400656"/>
                  <a:pt x="529202" y="404587"/>
                  <a:pt x="525271" y="404587"/>
                </a:cubicBezTo>
                <a:lnTo>
                  <a:pt x="74352" y="431991"/>
                </a:lnTo>
                <a:cubicBezTo>
                  <a:pt x="70422" y="431991"/>
                  <a:pt x="66491" y="428061"/>
                  <a:pt x="66491" y="424130"/>
                </a:cubicBezTo>
                <a:lnTo>
                  <a:pt x="66491" y="51713"/>
                </a:lnTo>
                <a:cubicBezTo>
                  <a:pt x="66491" y="47782"/>
                  <a:pt x="70422" y="43852"/>
                  <a:pt x="74352" y="43852"/>
                </a:cubicBezTo>
                <a:lnTo>
                  <a:pt x="348834" y="86978"/>
                </a:lnTo>
                <a:cubicBezTo>
                  <a:pt x="352765" y="86978"/>
                  <a:pt x="356695" y="86978"/>
                  <a:pt x="356695" y="83048"/>
                </a:cubicBezTo>
                <a:cubicBezTo>
                  <a:pt x="360626" y="79117"/>
                  <a:pt x="364556" y="71256"/>
                  <a:pt x="368487" y="67326"/>
                </a:cubicBezTo>
                <a:cubicBezTo>
                  <a:pt x="372417" y="63395"/>
                  <a:pt x="368487" y="55534"/>
                  <a:pt x="364556" y="55534"/>
                </a:cubicBezTo>
                <a:lnTo>
                  <a:pt x="31335" y="616"/>
                </a:lnTo>
                <a:cubicBezTo>
                  <a:pt x="15613" y="-3315"/>
                  <a:pt x="0" y="12407"/>
                  <a:pt x="0" y="24090"/>
                </a:cubicBezTo>
                <a:lnTo>
                  <a:pt x="0" y="498373"/>
                </a:lnTo>
                <a:cubicBezTo>
                  <a:pt x="0" y="506234"/>
                  <a:pt x="7861" y="514096"/>
                  <a:pt x="19653" y="514096"/>
                </a:cubicBezTo>
                <a:cubicBezTo>
                  <a:pt x="19653" y="514096"/>
                  <a:pt x="129489" y="502304"/>
                  <a:pt x="254938" y="494443"/>
                </a:cubicBezTo>
                <a:cubicBezTo>
                  <a:pt x="258869" y="494443"/>
                  <a:pt x="262799" y="498373"/>
                  <a:pt x="262799" y="502304"/>
                </a:cubicBezTo>
                <a:lnTo>
                  <a:pt x="258869" y="529708"/>
                </a:lnTo>
                <a:cubicBezTo>
                  <a:pt x="258869" y="533639"/>
                  <a:pt x="254938" y="537570"/>
                  <a:pt x="251008" y="537570"/>
                </a:cubicBezTo>
                <a:cubicBezTo>
                  <a:pt x="215742" y="545431"/>
                  <a:pt x="188229" y="553292"/>
                  <a:pt x="188229" y="564974"/>
                </a:cubicBezTo>
                <a:cubicBezTo>
                  <a:pt x="188229" y="580696"/>
                  <a:pt x="258760" y="584627"/>
                  <a:pt x="333330" y="572835"/>
                </a:cubicBezTo>
                <a:cubicBezTo>
                  <a:pt x="396110" y="564974"/>
                  <a:pt x="439236" y="549361"/>
                  <a:pt x="439236" y="541500"/>
                </a:cubicBezTo>
                <a:cubicBezTo>
                  <a:pt x="439236" y="533639"/>
                  <a:pt x="411832" y="525778"/>
                  <a:pt x="372636" y="525778"/>
                </a:cubicBezTo>
                <a:cubicBezTo>
                  <a:pt x="368705" y="525778"/>
                  <a:pt x="364775" y="521847"/>
                  <a:pt x="364775" y="517917"/>
                </a:cubicBezTo>
                <a:lnTo>
                  <a:pt x="364775" y="494443"/>
                </a:lnTo>
                <a:cubicBezTo>
                  <a:pt x="364775" y="490512"/>
                  <a:pt x="368705" y="486582"/>
                  <a:pt x="372636" y="486582"/>
                </a:cubicBezTo>
                <a:cubicBezTo>
                  <a:pt x="462819" y="478721"/>
                  <a:pt x="541212" y="470860"/>
                  <a:pt x="545142" y="470860"/>
                </a:cubicBezTo>
                <a:cubicBezTo>
                  <a:pt x="564795" y="462999"/>
                  <a:pt x="560864" y="443455"/>
                  <a:pt x="560864" y="443455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  <p:sp>
        <p:nvSpPr>
          <p:cNvPr id="53" name="Vrije vorm: vorm 52">
            <a:extLst>
              <a:ext uri="{FF2B5EF4-FFF2-40B4-BE49-F238E27FC236}">
                <a16:creationId xmlns:a16="http://schemas.microsoft.com/office/drawing/2014/main" id="{509B628D-BF77-93E9-9890-89A8A8F285B7}"/>
              </a:ext>
            </a:extLst>
          </p:cNvPr>
          <p:cNvSpPr/>
          <p:nvPr/>
        </p:nvSpPr>
        <p:spPr>
          <a:xfrm>
            <a:off x="5797688" y="2647065"/>
            <a:ext cx="981885" cy="972707"/>
          </a:xfrm>
          <a:custGeom>
            <a:avLst/>
            <a:gdLst>
              <a:gd name="connsiteX0" fmla="*/ 354730 w 432139"/>
              <a:gd name="connsiteY0" fmla="*/ 3057 h 428100"/>
              <a:gd name="connsiteX1" fmla="*/ 158640 w 432139"/>
              <a:gd name="connsiteY1" fmla="*/ 289221 h 428100"/>
              <a:gd name="connsiteX2" fmla="*/ 150779 w 432139"/>
              <a:gd name="connsiteY2" fmla="*/ 289221 h 428100"/>
              <a:gd name="connsiteX3" fmla="*/ 64526 w 432139"/>
              <a:gd name="connsiteY3" fmla="*/ 199038 h 428100"/>
              <a:gd name="connsiteX4" fmla="*/ 56665 w 432139"/>
              <a:gd name="connsiteY4" fmla="*/ 199038 h 428100"/>
              <a:gd name="connsiteX5" fmla="*/ 1747 w 432139"/>
              <a:gd name="connsiteY5" fmla="*/ 265638 h 428100"/>
              <a:gd name="connsiteX6" fmla="*/ 1747 w 432139"/>
              <a:gd name="connsiteY6" fmla="*/ 273499 h 428100"/>
              <a:gd name="connsiteX7" fmla="*/ 182114 w 432139"/>
              <a:gd name="connsiteY7" fmla="*/ 426353 h 428100"/>
              <a:gd name="connsiteX8" fmla="*/ 189975 w 432139"/>
              <a:gd name="connsiteY8" fmla="*/ 426353 h 428100"/>
              <a:gd name="connsiteX9" fmla="*/ 429192 w 432139"/>
              <a:gd name="connsiteY9" fmla="*/ 81340 h 428100"/>
              <a:gd name="connsiteX10" fmla="*/ 429192 w 432139"/>
              <a:gd name="connsiteY10" fmla="*/ 73479 h 428100"/>
              <a:gd name="connsiteX11" fmla="*/ 366412 w 432139"/>
              <a:gd name="connsiteY11" fmla="*/ 2948 h 428100"/>
              <a:gd name="connsiteX12" fmla="*/ 354621 w 432139"/>
              <a:gd name="connsiteY12" fmla="*/ 2948 h 4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139" h="428100">
                <a:moveTo>
                  <a:pt x="354730" y="3057"/>
                </a:moveTo>
                <a:cubicBezTo>
                  <a:pt x="260616" y="85380"/>
                  <a:pt x="197946" y="206899"/>
                  <a:pt x="158640" y="289221"/>
                </a:cubicBezTo>
                <a:cubicBezTo>
                  <a:pt x="158640" y="293152"/>
                  <a:pt x="150779" y="293152"/>
                  <a:pt x="150779" y="289221"/>
                </a:cubicBezTo>
                <a:cubicBezTo>
                  <a:pt x="135057" y="269569"/>
                  <a:pt x="80248" y="214760"/>
                  <a:pt x="64526" y="199038"/>
                </a:cubicBezTo>
                <a:cubicBezTo>
                  <a:pt x="60596" y="195107"/>
                  <a:pt x="56665" y="195107"/>
                  <a:pt x="56665" y="199038"/>
                </a:cubicBezTo>
                <a:cubicBezTo>
                  <a:pt x="44874" y="214760"/>
                  <a:pt x="17469" y="250025"/>
                  <a:pt x="1747" y="265638"/>
                </a:cubicBezTo>
                <a:cubicBezTo>
                  <a:pt x="-2184" y="269569"/>
                  <a:pt x="1747" y="273499"/>
                  <a:pt x="1747" y="273499"/>
                </a:cubicBezTo>
                <a:cubicBezTo>
                  <a:pt x="40943" y="304834"/>
                  <a:pt x="142918" y="391088"/>
                  <a:pt x="182114" y="426353"/>
                </a:cubicBezTo>
                <a:cubicBezTo>
                  <a:pt x="186045" y="430284"/>
                  <a:pt x="189975" y="426353"/>
                  <a:pt x="189975" y="426353"/>
                </a:cubicBezTo>
                <a:cubicBezTo>
                  <a:pt x="264437" y="249916"/>
                  <a:pt x="339008" y="151980"/>
                  <a:pt x="429192" y="81340"/>
                </a:cubicBezTo>
                <a:cubicBezTo>
                  <a:pt x="433122" y="81340"/>
                  <a:pt x="433122" y="77410"/>
                  <a:pt x="429192" y="73479"/>
                </a:cubicBezTo>
                <a:lnTo>
                  <a:pt x="366412" y="2948"/>
                </a:lnTo>
                <a:cubicBezTo>
                  <a:pt x="358551" y="-983"/>
                  <a:pt x="354621" y="-983"/>
                  <a:pt x="354621" y="2948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239408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 advTm="1982">
        <p159:morph option="byObject"/>
      </p:transition>
    </mc:Choice>
    <mc:Fallback xmlns="">
      <p:transition spd="med" advTm="198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mph" presetSubtype="0" autoRev="1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300" fill="hold"/>
                                        <p:tgtEl>
                                          <p:spTgt spid="4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6" presetClass="emph" presetSubtype="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7" dur="300" fill="hold"/>
                                        <p:tgtEl>
                                          <p:spTgt spid="5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9" dur="300" fill="hold"/>
                                        <p:tgtEl>
                                          <p:spTgt spid="4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1" dur="300" fill="hold"/>
                                        <p:tgtEl>
                                          <p:spTgt spid="4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3" dur="300" fill="hold"/>
                                        <p:tgtEl>
                                          <p:spTgt spid="4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6" presetClass="emph" presetSubtype="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5" dur="300" fill="hold"/>
                                        <p:tgtEl>
                                          <p:spTgt spid="5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  <p:bldP spid="51" grpId="0" animBg="1"/>
      <p:bldP spid="51" grpId="1" animBg="1"/>
      <p:bldP spid="52" grpId="0" animBg="1"/>
      <p:bldP spid="5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DE835-6AF2-87BF-C07D-8713E8CE3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725D80F8-8D75-1327-E12E-A5EC5653190B}"/>
              </a:ext>
            </a:extLst>
          </p:cNvPr>
          <p:cNvSpPr/>
          <p:nvPr/>
        </p:nvSpPr>
        <p:spPr>
          <a:xfrm>
            <a:off x="7772107" y="1139863"/>
            <a:ext cx="3166957" cy="244046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hoek: afgeronde hoeken 61">
            <a:extLst>
              <a:ext uri="{FF2B5EF4-FFF2-40B4-BE49-F238E27FC236}">
                <a16:creationId xmlns:a16="http://schemas.microsoft.com/office/drawing/2014/main" id="{21B61691-5675-B4BB-AFEE-B708B17EC6A9}"/>
              </a:ext>
            </a:extLst>
          </p:cNvPr>
          <p:cNvSpPr/>
          <p:nvPr/>
        </p:nvSpPr>
        <p:spPr>
          <a:xfrm>
            <a:off x="7997527" y="920812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4F3FDFDE-5F72-98ED-0CF5-496BEC3DE804}"/>
              </a:ext>
            </a:extLst>
          </p:cNvPr>
          <p:cNvSpPr/>
          <p:nvPr/>
        </p:nvSpPr>
        <p:spPr>
          <a:xfrm>
            <a:off x="4299918" y="1151960"/>
            <a:ext cx="3166957" cy="244046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hoek: afgeronde hoeken 61">
            <a:extLst>
              <a:ext uri="{FF2B5EF4-FFF2-40B4-BE49-F238E27FC236}">
                <a16:creationId xmlns:a16="http://schemas.microsoft.com/office/drawing/2014/main" id="{EB888ED3-57F9-C318-93AA-2077D5D3CF4A}"/>
              </a:ext>
            </a:extLst>
          </p:cNvPr>
          <p:cNvSpPr/>
          <p:nvPr/>
        </p:nvSpPr>
        <p:spPr>
          <a:xfrm>
            <a:off x="4525338" y="932909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55D1BA39-7EFC-AC1F-FE44-8C9830A6294E}"/>
              </a:ext>
            </a:extLst>
          </p:cNvPr>
          <p:cNvSpPr/>
          <p:nvPr/>
        </p:nvSpPr>
        <p:spPr>
          <a:xfrm>
            <a:off x="828270" y="3909255"/>
            <a:ext cx="3166957" cy="244046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hoek: afgeronde hoeken 61">
            <a:extLst>
              <a:ext uri="{FF2B5EF4-FFF2-40B4-BE49-F238E27FC236}">
                <a16:creationId xmlns:a16="http://schemas.microsoft.com/office/drawing/2014/main" id="{E4E3C4E6-B861-621A-5C2D-BE84ECA95E2D}"/>
              </a:ext>
            </a:extLst>
          </p:cNvPr>
          <p:cNvSpPr/>
          <p:nvPr/>
        </p:nvSpPr>
        <p:spPr>
          <a:xfrm>
            <a:off x="1053690" y="369020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B882825-294D-712D-1B55-E33CDCD629CA}"/>
              </a:ext>
            </a:extLst>
          </p:cNvPr>
          <p:cNvSpPr/>
          <p:nvPr/>
        </p:nvSpPr>
        <p:spPr>
          <a:xfrm>
            <a:off x="4307176" y="3909255"/>
            <a:ext cx="6631888" cy="244046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67922C-B1B8-558B-03B4-0044B5F6AF4F}"/>
              </a:ext>
            </a:extLst>
          </p:cNvPr>
          <p:cNvSpPr txBox="1"/>
          <p:nvPr/>
        </p:nvSpPr>
        <p:spPr>
          <a:xfrm>
            <a:off x="750191" y="410876"/>
            <a:ext cx="10877179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Patch My PC Cloud – More Features</a:t>
            </a:r>
            <a:endParaRPr lang="en-US" sz="20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00513B-97EC-A4B1-9AB3-F246FDC0BD3D}"/>
              </a:ext>
            </a:extLst>
          </p:cNvPr>
          <p:cNvSpPr txBox="1"/>
          <p:nvPr/>
        </p:nvSpPr>
        <p:spPr>
          <a:xfrm>
            <a:off x="4499957" y="5036674"/>
            <a:ext cx="2837646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rgbClr val="FFFFFF"/>
                </a:solidFill>
                <a:effectLst/>
              </a:rPr>
              <a:t>Need more applications? Add. your own business applications to your own private catalog</a:t>
            </a:r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22E1A3-37B0-5794-21E0-C2E1F4F9D198}"/>
              </a:ext>
            </a:extLst>
          </p:cNvPr>
          <p:cNvSpPr txBox="1"/>
          <p:nvPr/>
        </p:nvSpPr>
        <p:spPr>
          <a:xfrm>
            <a:off x="4500899" y="4190070"/>
            <a:ext cx="2810272" cy="5354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</a:rPr>
              <a:t>Bring Your Own Applications</a:t>
            </a:r>
            <a:endParaRPr lang="en-US" sz="1600" i="0">
              <a:solidFill>
                <a:schemeClr val="bg1"/>
              </a:solidFill>
              <a:effectLst/>
            </a:endParaRPr>
          </a:p>
        </p:txBody>
      </p:sp>
      <p:sp>
        <p:nvSpPr>
          <p:cNvPr id="16" name="Rechthoek: afgeronde hoeken 61">
            <a:extLst>
              <a:ext uri="{FF2B5EF4-FFF2-40B4-BE49-F238E27FC236}">
                <a16:creationId xmlns:a16="http://schemas.microsoft.com/office/drawing/2014/main" id="{0F5FDD29-7E7B-CEDA-D14A-1E26B83752D7}"/>
              </a:ext>
            </a:extLst>
          </p:cNvPr>
          <p:cNvSpPr/>
          <p:nvPr/>
        </p:nvSpPr>
        <p:spPr>
          <a:xfrm>
            <a:off x="7623120" y="3686265"/>
            <a:ext cx="3438745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6B303E38-61BF-8100-B0A1-4A2ECED714F2}"/>
              </a:ext>
            </a:extLst>
          </p:cNvPr>
          <p:cNvSpPr/>
          <p:nvPr/>
        </p:nvSpPr>
        <p:spPr>
          <a:xfrm>
            <a:off x="7668628" y="4167265"/>
            <a:ext cx="2939411" cy="1960977"/>
          </a:xfrm>
          <a:prstGeom prst="roundRect">
            <a:avLst>
              <a:gd name="adj" fmla="val 5190"/>
            </a:avLst>
          </a:prstGeom>
          <a:solidFill>
            <a:srgbClr val="151421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08FB8-5802-7E0C-C039-2DF846F7BF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0313" y="4267542"/>
            <a:ext cx="2656040" cy="17604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A16353B-F54F-AB73-73B3-B50D3AA33F1E}"/>
              </a:ext>
            </a:extLst>
          </p:cNvPr>
          <p:cNvSpPr txBox="1"/>
          <p:nvPr/>
        </p:nvSpPr>
        <p:spPr>
          <a:xfrm>
            <a:off x="1039162" y="5023108"/>
            <a:ext cx="243146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b="0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We detect which applications are already running in your environment</a:t>
            </a:r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F32ED91-6A41-B3C1-0F39-3CB45EA09582}"/>
              </a:ext>
            </a:extLst>
          </p:cNvPr>
          <p:cNvSpPr txBox="1"/>
          <p:nvPr/>
        </p:nvSpPr>
        <p:spPr>
          <a:xfrm>
            <a:off x="1039162" y="4190071"/>
            <a:ext cx="2130218" cy="5354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Application Discovery 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23B6AAFB-4080-CAD8-CC51-6E91409895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39035" y="4203638"/>
            <a:ext cx="451158" cy="458304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5222F674-D53B-E166-A9E4-02ACAFBB2B53}"/>
              </a:ext>
            </a:extLst>
          </p:cNvPr>
          <p:cNvSpPr/>
          <p:nvPr/>
        </p:nvSpPr>
        <p:spPr>
          <a:xfrm>
            <a:off x="823274" y="1136075"/>
            <a:ext cx="3166957" cy="244046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hoek: afgeronde hoeken 61">
            <a:extLst>
              <a:ext uri="{FF2B5EF4-FFF2-40B4-BE49-F238E27FC236}">
                <a16:creationId xmlns:a16="http://schemas.microsoft.com/office/drawing/2014/main" id="{AF36141C-7300-6F59-6CB7-979FDFE9BE8B}"/>
              </a:ext>
            </a:extLst>
          </p:cNvPr>
          <p:cNvSpPr/>
          <p:nvPr/>
        </p:nvSpPr>
        <p:spPr>
          <a:xfrm>
            <a:off x="1048694" y="91702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612669-874C-DADE-1B06-4750CF9388E7}"/>
              </a:ext>
            </a:extLst>
          </p:cNvPr>
          <p:cNvSpPr txBox="1"/>
          <p:nvPr/>
        </p:nvSpPr>
        <p:spPr>
          <a:xfrm>
            <a:off x="1039162" y="2109372"/>
            <a:ext cx="269283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>
                <a:solidFill>
                  <a:srgbClr val="FFFFFF"/>
                </a:solidFill>
              </a:rPr>
              <a:t>No need for manual application packaging—enjoy enhanced security with accelerated vulnerability patching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AAD599-7C61-91FB-79BC-2DB35C0B0717}"/>
              </a:ext>
            </a:extLst>
          </p:cNvPr>
          <p:cNvSpPr txBox="1"/>
          <p:nvPr/>
        </p:nvSpPr>
        <p:spPr>
          <a:xfrm>
            <a:off x="1039162" y="1325344"/>
            <a:ext cx="181890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Automated Patching</a:t>
            </a:r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EB6BB32-919F-E92A-5565-81AE9DF296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31060" y="1323698"/>
            <a:ext cx="394625" cy="3946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AA11FDE-AC48-2D4D-4DF0-5C17B49575C9}"/>
              </a:ext>
            </a:extLst>
          </p:cNvPr>
          <p:cNvSpPr txBox="1"/>
          <p:nvPr/>
        </p:nvSpPr>
        <p:spPr>
          <a:xfrm>
            <a:off x="4499957" y="1318885"/>
            <a:ext cx="3240214" cy="5354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</a:rPr>
              <a:t>Extensive</a:t>
            </a:r>
            <a:endParaRPr lang="en-US" sz="1600" b="1" i="0">
              <a:solidFill>
                <a:schemeClr val="bg1"/>
              </a:solidFill>
              <a:effectLst/>
              <a:cs typeface="Poppins"/>
            </a:endParaRPr>
          </a:p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</a:rPr>
              <a:t>Catalog</a:t>
            </a:r>
            <a:endParaRPr lang="en-US" sz="1600" i="0">
              <a:solidFill>
                <a:schemeClr val="bg1"/>
              </a:solidFill>
              <a:effectLst/>
              <a:cs typeface="Poppin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9F36788-88BF-837D-B550-57837790FD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58524" y="1342927"/>
            <a:ext cx="421891" cy="42189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E48F82E8-0BDF-E686-E809-D66964CAC236}"/>
              </a:ext>
            </a:extLst>
          </p:cNvPr>
          <p:cNvSpPr txBox="1"/>
          <p:nvPr/>
        </p:nvSpPr>
        <p:spPr>
          <a:xfrm>
            <a:off x="4499957" y="2109372"/>
            <a:ext cx="2626512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rgbClr val="FFFFFF"/>
                </a:solidFill>
                <a:effectLst/>
              </a:rPr>
              <a:t>Access a robust catalog of thousands of applications, all consistently updated and managed by our team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FED5F7-2A65-F6D7-B99C-F8D501E586FB}"/>
              </a:ext>
            </a:extLst>
          </p:cNvPr>
          <p:cNvSpPr txBox="1"/>
          <p:nvPr/>
        </p:nvSpPr>
        <p:spPr>
          <a:xfrm>
            <a:off x="7996986" y="1325344"/>
            <a:ext cx="2262107" cy="5354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</a:rPr>
              <a:t>Multi-</a:t>
            </a:r>
            <a:endParaRPr lang="en-US" sz="1600" b="1" i="0">
              <a:solidFill>
                <a:schemeClr val="bg1"/>
              </a:solidFill>
              <a:effectLst/>
              <a:cs typeface="Poppins"/>
            </a:endParaRPr>
          </a:p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</a:rPr>
              <a:t>Tenancy</a:t>
            </a:r>
            <a:endParaRPr lang="en-US" sz="1600" i="0">
              <a:solidFill>
                <a:schemeClr val="bg1"/>
              </a:solidFill>
              <a:effectLst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F6E5648-3ABC-BA0F-7D2E-070D698566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59093" y="1312485"/>
            <a:ext cx="452547" cy="452547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E9155A7-2421-DE5E-AC39-7D13A0796DB5}"/>
              </a:ext>
            </a:extLst>
          </p:cNvPr>
          <p:cNvSpPr txBox="1"/>
          <p:nvPr/>
        </p:nvSpPr>
        <p:spPr>
          <a:xfrm>
            <a:off x="7996986" y="2109372"/>
            <a:ext cx="2359433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rgbClr val="FFFFFF"/>
                </a:solidFill>
                <a:effectLst/>
              </a:rPr>
              <a:t>MSP’s can manage updates for multiple tenants from a single location.</a:t>
            </a: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90CA27-22AB-C9BB-3485-A6EFDBCB0EE8}"/>
              </a:ext>
            </a:extLst>
          </p:cNvPr>
          <p:cNvCxnSpPr>
            <a:cxnSpLocks/>
          </p:cNvCxnSpPr>
          <p:nvPr/>
        </p:nvCxnSpPr>
        <p:spPr>
          <a:xfrm>
            <a:off x="1137352" y="200458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8D08B3-0294-4C5E-171B-3F789DB3A108}"/>
              </a:ext>
            </a:extLst>
          </p:cNvPr>
          <p:cNvCxnSpPr>
            <a:cxnSpLocks/>
          </p:cNvCxnSpPr>
          <p:nvPr/>
        </p:nvCxnSpPr>
        <p:spPr>
          <a:xfrm>
            <a:off x="8099557" y="200458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3943CD4-5917-92FF-F142-5319C105505A}"/>
              </a:ext>
            </a:extLst>
          </p:cNvPr>
          <p:cNvCxnSpPr>
            <a:cxnSpLocks/>
          </p:cNvCxnSpPr>
          <p:nvPr/>
        </p:nvCxnSpPr>
        <p:spPr>
          <a:xfrm>
            <a:off x="4595660" y="200458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6CD3C96-F1F7-00A1-7088-3826030B46B3}"/>
              </a:ext>
            </a:extLst>
          </p:cNvPr>
          <p:cNvCxnSpPr>
            <a:cxnSpLocks/>
          </p:cNvCxnSpPr>
          <p:nvPr/>
        </p:nvCxnSpPr>
        <p:spPr>
          <a:xfrm>
            <a:off x="4595660" y="4896280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77D0EF6-A237-BF4B-4940-DAEBE128F2DA}"/>
              </a:ext>
            </a:extLst>
          </p:cNvPr>
          <p:cNvCxnSpPr>
            <a:cxnSpLocks/>
          </p:cNvCxnSpPr>
          <p:nvPr/>
        </p:nvCxnSpPr>
        <p:spPr>
          <a:xfrm>
            <a:off x="1137352" y="4863716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3393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92BB6-25AB-A586-AF40-97F108D61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200BBFE-7061-20C8-3196-8EC24C200D4C}"/>
              </a:ext>
            </a:extLst>
          </p:cNvPr>
          <p:cNvSpPr/>
          <p:nvPr/>
        </p:nvSpPr>
        <p:spPr>
          <a:xfrm>
            <a:off x="7771913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hoek: afgeronde hoeken 61">
            <a:extLst>
              <a:ext uri="{FF2B5EF4-FFF2-40B4-BE49-F238E27FC236}">
                <a16:creationId xmlns:a16="http://schemas.microsoft.com/office/drawing/2014/main" id="{43B20061-4A2F-AD00-F1C3-AF14C16FBEAF}"/>
              </a:ext>
            </a:extLst>
          </p:cNvPr>
          <p:cNvSpPr/>
          <p:nvPr/>
        </p:nvSpPr>
        <p:spPr>
          <a:xfrm>
            <a:off x="7997333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7FF21BE2-2897-2A55-EC20-8499B57B81C5}"/>
              </a:ext>
            </a:extLst>
          </p:cNvPr>
          <p:cNvSpPr/>
          <p:nvPr/>
        </p:nvSpPr>
        <p:spPr>
          <a:xfrm>
            <a:off x="4299918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hoek: afgeronde hoeken 61">
            <a:extLst>
              <a:ext uri="{FF2B5EF4-FFF2-40B4-BE49-F238E27FC236}">
                <a16:creationId xmlns:a16="http://schemas.microsoft.com/office/drawing/2014/main" id="{FFA20467-C2D2-5C3C-3C6C-677F41FCEDD9}"/>
              </a:ext>
            </a:extLst>
          </p:cNvPr>
          <p:cNvSpPr/>
          <p:nvPr/>
        </p:nvSpPr>
        <p:spPr>
          <a:xfrm>
            <a:off x="4525338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624CDDD-7B29-31CF-DE44-96BE3ECC50E7}"/>
              </a:ext>
            </a:extLst>
          </p:cNvPr>
          <p:cNvSpPr txBox="1"/>
          <p:nvPr/>
        </p:nvSpPr>
        <p:spPr>
          <a:xfrm>
            <a:off x="4499957" y="1781732"/>
            <a:ext cx="2680332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onfigure scope tags  for applications to limit what administrators can see applications created by Patch My PC in Intun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342246-0BD7-A7E1-A446-A19EF8C317D0}"/>
              </a:ext>
            </a:extLst>
          </p:cNvPr>
          <p:cNvSpPr txBox="1"/>
          <p:nvPr/>
        </p:nvSpPr>
        <p:spPr>
          <a:xfrm>
            <a:off x="4487668" y="825908"/>
            <a:ext cx="2136365" cy="7471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Add Scope </a:t>
            </a:r>
            <a: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  <a:t>Tags </a:t>
            </a: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 </a:t>
            </a:r>
            <a:b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</a:b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to </a:t>
            </a:r>
            <a: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  <a:t>Applications</a:t>
            </a:r>
            <a:b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</a:br>
            <a: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  <a:t>in</a:t>
            </a: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 Intune  </a:t>
            </a:r>
            <a:endParaRPr lang="en-US">
              <a:solidFill>
                <a:schemeClr val="bg1"/>
              </a:solidFill>
              <a:cs typeface="Poppin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F5644ED-A0F0-62FE-A26F-A8334A8498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8530" y="773186"/>
            <a:ext cx="459202" cy="4592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292D8AD-1715-B85B-7889-0FFCD49058D2}"/>
              </a:ext>
            </a:extLst>
          </p:cNvPr>
          <p:cNvSpPr txBox="1"/>
          <p:nvPr/>
        </p:nvSpPr>
        <p:spPr>
          <a:xfrm>
            <a:off x="7997333" y="1790671"/>
            <a:ext cx="273223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 save</a:t>
            </a:r>
            <a:r>
              <a:rPr lang="en-US" sz="1200" i="0" u="none" strike="noStrike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installation logs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for EXE and MSI-based product installers to a (Local folder or UNC folder)</a:t>
            </a:r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C52415-22DB-7DF1-849F-51A3A49B6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0507" y="809154"/>
            <a:ext cx="395760" cy="39576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DDF3C3E-BEDC-4758-4696-F49242883B25}"/>
              </a:ext>
            </a:extLst>
          </p:cNvPr>
          <p:cNvSpPr txBox="1"/>
          <p:nvPr/>
        </p:nvSpPr>
        <p:spPr>
          <a:xfrm>
            <a:off x="7993305" y="752216"/>
            <a:ext cx="2210791" cy="7534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Save Application   Install Logs to a    Central Location</a:t>
            </a:r>
            <a:endParaRPr lang="en-US" sz="1600" i="0">
              <a:solidFill>
                <a:schemeClr val="bg1"/>
              </a:solidFill>
              <a:effectLst/>
              <a:latin typeface="Poppins"/>
              <a:cs typeface="Poppins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53A2A2F-336F-3F9F-0189-0CBD665590A5}"/>
              </a:ext>
            </a:extLst>
          </p:cNvPr>
          <p:cNvSpPr/>
          <p:nvPr/>
        </p:nvSpPr>
        <p:spPr>
          <a:xfrm>
            <a:off x="7766917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hoek: afgeronde hoeken 61">
            <a:extLst>
              <a:ext uri="{FF2B5EF4-FFF2-40B4-BE49-F238E27FC236}">
                <a16:creationId xmlns:a16="http://schemas.microsoft.com/office/drawing/2014/main" id="{C8FEF451-F86D-97CD-DC17-26E885BB6186}"/>
              </a:ext>
            </a:extLst>
          </p:cNvPr>
          <p:cNvSpPr/>
          <p:nvPr/>
        </p:nvSpPr>
        <p:spPr>
          <a:xfrm>
            <a:off x="7992337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A26FA4B-AB4E-4D9F-7284-1E1179F0BF1F}"/>
              </a:ext>
            </a:extLst>
          </p:cNvPr>
          <p:cNvSpPr/>
          <p:nvPr/>
        </p:nvSpPr>
        <p:spPr>
          <a:xfrm>
            <a:off x="4294922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hoek: afgeronde hoeken 61">
            <a:extLst>
              <a:ext uri="{FF2B5EF4-FFF2-40B4-BE49-F238E27FC236}">
                <a16:creationId xmlns:a16="http://schemas.microsoft.com/office/drawing/2014/main" id="{31B0DC10-55A9-65F7-29E0-31A77910E683}"/>
              </a:ext>
            </a:extLst>
          </p:cNvPr>
          <p:cNvSpPr/>
          <p:nvPr/>
        </p:nvSpPr>
        <p:spPr>
          <a:xfrm>
            <a:off x="4520342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64B3846-1294-5C8E-773D-C34F4B9486DF}"/>
              </a:ext>
            </a:extLst>
          </p:cNvPr>
          <p:cNvSpPr txBox="1"/>
          <p:nvPr/>
        </p:nvSpPr>
        <p:spPr>
          <a:xfrm>
            <a:off x="4494960" y="4794755"/>
            <a:ext cx="289519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 spc="-3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You can add MST Transform 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files for MSI-based application installers to ensure you can customize </a:t>
            </a:r>
            <a:r>
              <a:rPr lang="en-US" sz="1200" i="0" spc="-3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the application install when 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needed</a:t>
            </a:r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8552D7-17F1-D419-3859-BE530B67C87E}"/>
              </a:ext>
            </a:extLst>
          </p:cNvPr>
          <p:cNvSpPr txBox="1"/>
          <p:nvPr/>
        </p:nvSpPr>
        <p:spPr>
          <a:xfrm>
            <a:off x="4482672" y="3838931"/>
            <a:ext cx="2136365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Add MST Transform Files to Applications 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AE5DAAB-7E36-AED5-C4F9-36CF47CEE457}"/>
              </a:ext>
            </a:extLst>
          </p:cNvPr>
          <p:cNvSpPr txBox="1"/>
          <p:nvPr/>
        </p:nvSpPr>
        <p:spPr>
          <a:xfrm>
            <a:off x="7992337" y="4803694"/>
            <a:ext cx="259071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s support for </a:t>
            </a:r>
            <a:r>
              <a:rPr lang="en-US" sz="1200">
                <a:solidFill>
                  <a:schemeClr val="bg1"/>
                </a:solidFill>
                <a:latin typeface="Poppins" panose="00000500000000000000" pitchFamily="2" charset="0"/>
              </a:rPr>
              <a:t>Entra ID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</a:t>
            </a:r>
            <a:r>
              <a:rPr lang="en-US" sz="1200" i="0" u="none" strike="noStrike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filters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to applications and update assignments in Microsoft Intune</a:t>
            </a: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12B51F-9488-929C-59B4-5309821013D2}"/>
              </a:ext>
            </a:extLst>
          </p:cNvPr>
          <p:cNvSpPr txBox="1"/>
          <p:nvPr/>
        </p:nvSpPr>
        <p:spPr>
          <a:xfrm>
            <a:off x="7988309" y="3765239"/>
            <a:ext cx="2319927" cy="74988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Use Intune Filters </a:t>
            </a:r>
            <a: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  <a:t> </a:t>
            </a:r>
            <a:b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</a:br>
            <a:r>
              <a:rPr lang="en-US" sz="1600" b="1">
                <a:solidFill>
                  <a:schemeClr val="bg1"/>
                </a:solidFill>
                <a:latin typeface="Poppins"/>
                <a:cs typeface="Poppins"/>
              </a:rPr>
              <a:t>for</a:t>
            </a: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 Assigning Applications  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20FC031D-CE65-A0A0-4F66-FA05522F08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84281" y="3824719"/>
            <a:ext cx="427047" cy="427047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39495EBF-3FE4-11C9-1CA9-E045843185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71418" y="3779925"/>
            <a:ext cx="398971" cy="398971"/>
          </a:xfrm>
          <a:prstGeom prst="rect">
            <a:avLst/>
          </a:prstGeom>
        </p:spPr>
      </p:pic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ECA21AA0-034C-08FF-B51F-7CCB02EA003E}"/>
              </a:ext>
            </a:extLst>
          </p:cNvPr>
          <p:cNvSpPr/>
          <p:nvPr/>
        </p:nvSpPr>
        <p:spPr>
          <a:xfrm>
            <a:off x="806511" y="504666"/>
            <a:ext cx="3166957" cy="5880986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hoek: afgeronde hoeken 61">
            <a:extLst>
              <a:ext uri="{FF2B5EF4-FFF2-40B4-BE49-F238E27FC236}">
                <a16:creationId xmlns:a16="http://schemas.microsoft.com/office/drawing/2014/main" id="{FDA5A047-55AE-575C-4F0D-8830280D789A}"/>
              </a:ext>
            </a:extLst>
          </p:cNvPr>
          <p:cNvSpPr/>
          <p:nvPr/>
        </p:nvSpPr>
        <p:spPr>
          <a:xfrm>
            <a:off x="1031931" y="673076"/>
            <a:ext cx="3042567" cy="5803861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B6A156D-AC7D-A741-3A8E-1C03359BA0D3}"/>
              </a:ext>
            </a:extLst>
          </p:cNvPr>
          <p:cNvSpPr txBox="1"/>
          <p:nvPr/>
        </p:nvSpPr>
        <p:spPr>
          <a:xfrm>
            <a:off x="1072561" y="1836161"/>
            <a:ext cx="2670785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With our </a:t>
            </a:r>
            <a:r>
              <a:rPr lang="en-US" sz="1200" i="0" u="none" strike="noStrike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manage conflicting process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feature, you can interactively notify the user to close the application with custom branding and options such as snoozing the notification</a:t>
            </a:r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F9D1D6D-2318-8F7D-7DFA-B35BE0726FF0}"/>
              </a:ext>
            </a:extLst>
          </p:cNvPr>
          <p:cNvSpPr txBox="1"/>
          <p:nvPr/>
        </p:nvSpPr>
        <p:spPr>
          <a:xfrm>
            <a:off x="1060273" y="825908"/>
            <a:ext cx="2136365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chemeClr val="bg1"/>
                </a:solidFill>
                <a:effectLst/>
                <a:latin typeface="Poppins"/>
                <a:cs typeface="Poppins"/>
              </a:rPr>
              <a:t>Notify Users   When Installing Applications  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F41E336A-B47A-71B0-1B43-5718EECADB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34331" y="801640"/>
            <a:ext cx="409016" cy="409016"/>
          </a:xfrm>
          <a:prstGeom prst="rect">
            <a:avLst/>
          </a:prstGeom>
        </p:spPr>
      </p:pic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48797B68-37DF-512C-BD41-D712AB5B5FE4}"/>
              </a:ext>
            </a:extLst>
          </p:cNvPr>
          <p:cNvSpPr/>
          <p:nvPr/>
        </p:nvSpPr>
        <p:spPr>
          <a:xfrm>
            <a:off x="1151690" y="3824719"/>
            <a:ext cx="2482734" cy="2160255"/>
          </a:xfrm>
          <a:prstGeom prst="roundRect">
            <a:avLst>
              <a:gd name="adj" fmla="val 5190"/>
            </a:avLst>
          </a:prstGeom>
          <a:solidFill>
            <a:srgbClr val="292827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Picture 2">
            <a:extLst>
              <a:ext uri="{FF2B5EF4-FFF2-40B4-BE49-F238E27FC236}">
                <a16:creationId xmlns:a16="http://schemas.microsoft.com/office/drawing/2014/main" id="{A99D9A14-942C-8F71-2610-F6480DE6DB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43"/>
          <a:stretch/>
        </p:blipFill>
        <p:spPr bwMode="auto">
          <a:xfrm>
            <a:off x="1543107" y="3969283"/>
            <a:ext cx="1708655" cy="187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FFBD45F-8114-EF68-07A0-36851F098C35}"/>
              </a:ext>
            </a:extLst>
          </p:cNvPr>
          <p:cNvCxnSpPr>
            <a:cxnSpLocks/>
          </p:cNvCxnSpPr>
          <p:nvPr/>
        </p:nvCxnSpPr>
        <p:spPr>
          <a:xfrm>
            <a:off x="1152903" y="1716894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7DB7ED-CF32-0DD7-83E2-E23A7F1C6B6F}"/>
              </a:ext>
            </a:extLst>
          </p:cNvPr>
          <p:cNvCxnSpPr>
            <a:cxnSpLocks/>
          </p:cNvCxnSpPr>
          <p:nvPr/>
        </p:nvCxnSpPr>
        <p:spPr>
          <a:xfrm>
            <a:off x="4589678" y="1678016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194ECE-41A0-180F-09C2-5A8D2680B43E}"/>
              </a:ext>
            </a:extLst>
          </p:cNvPr>
          <p:cNvCxnSpPr>
            <a:cxnSpLocks/>
          </p:cNvCxnSpPr>
          <p:nvPr/>
        </p:nvCxnSpPr>
        <p:spPr>
          <a:xfrm>
            <a:off x="8088658" y="1678016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D09C70-BB18-8BBB-3BED-1B65C250A402}"/>
              </a:ext>
            </a:extLst>
          </p:cNvPr>
          <p:cNvCxnSpPr>
            <a:cxnSpLocks/>
          </p:cNvCxnSpPr>
          <p:nvPr/>
        </p:nvCxnSpPr>
        <p:spPr>
          <a:xfrm>
            <a:off x="4589678" y="468713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CAF45A-1A54-7191-B1C2-FAC0A44DA770}"/>
              </a:ext>
            </a:extLst>
          </p:cNvPr>
          <p:cNvCxnSpPr>
            <a:cxnSpLocks/>
          </p:cNvCxnSpPr>
          <p:nvPr/>
        </p:nvCxnSpPr>
        <p:spPr>
          <a:xfrm>
            <a:off x="8088657" y="468713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7603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58024-235F-4818-D34F-D1040C7455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384BED24-BF39-5DD4-66F1-505D95B4FF5F}"/>
              </a:ext>
            </a:extLst>
          </p:cNvPr>
          <p:cNvSpPr/>
          <p:nvPr/>
        </p:nvSpPr>
        <p:spPr>
          <a:xfrm>
            <a:off x="828270" y="3711465"/>
            <a:ext cx="3166957" cy="263825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hoek: afgeronde hoeken 61">
            <a:extLst>
              <a:ext uri="{FF2B5EF4-FFF2-40B4-BE49-F238E27FC236}">
                <a16:creationId xmlns:a16="http://schemas.microsoft.com/office/drawing/2014/main" id="{1DF50CA4-8E59-FD35-E299-09D2A51C1911}"/>
              </a:ext>
            </a:extLst>
          </p:cNvPr>
          <p:cNvSpPr/>
          <p:nvPr/>
        </p:nvSpPr>
        <p:spPr>
          <a:xfrm>
            <a:off x="1053690" y="369020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EFA848C-1A31-4135-4C68-07E9352E3CC1}"/>
              </a:ext>
            </a:extLst>
          </p:cNvPr>
          <p:cNvSpPr/>
          <p:nvPr/>
        </p:nvSpPr>
        <p:spPr>
          <a:xfrm>
            <a:off x="4307176" y="3711465"/>
            <a:ext cx="6631888" cy="263825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D7415F-CB9D-3B13-3ED3-54D04CC2414B}"/>
              </a:ext>
            </a:extLst>
          </p:cNvPr>
          <p:cNvSpPr txBox="1"/>
          <p:nvPr/>
        </p:nvSpPr>
        <p:spPr>
          <a:xfrm>
            <a:off x="4499957" y="4850029"/>
            <a:ext cx="2837646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</a:rPr>
              <a:t>Create dependencies within a deployment, whereby the app being deployed requires one or more other apps to have already been installed</a:t>
            </a:r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CF7F58F-EFC3-4D5F-E8DE-4724B0510430}"/>
              </a:ext>
            </a:extLst>
          </p:cNvPr>
          <p:cNvSpPr txBox="1"/>
          <p:nvPr/>
        </p:nvSpPr>
        <p:spPr>
          <a:xfrm>
            <a:off x="4495444" y="3991812"/>
            <a:ext cx="2232489" cy="5312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Add </a:t>
            </a:r>
            <a: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  <a:t>a Dependency</a:t>
            </a: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 to a Deployment</a:t>
            </a:r>
          </a:p>
        </p:txBody>
      </p:sp>
      <p:sp>
        <p:nvSpPr>
          <p:cNvPr id="16" name="Rechthoek: afgeronde hoeken 61">
            <a:extLst>
              <a:ext uri="{FF2B5EF4-FFF2-40B4-BE49-F238E27FC236}">
                <a16:creationId xmlns:a16="http://schemas.microsoft.com/office/drawing/2014/main" id="{F30689CE-E5EE-6A7D-1B5D-A46321732E5D}"/>
              </a:ext>
            </a:extLst>
          </p:cNvPr>
          <p:cNvSpPr/>
          <p:nvPr/>
        </p:nvSpPr>
        <p:spPr>
          <a:xfrm>
            <a:off x="7623120" y="3686265"/>
            <a:ext cx="3438745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52825FD-F501-34E7-FE56-287C72BD1F17}"/>
              </a:ext>
            </a:extLst>
          </p:cNvPr>
          <p:cNvSpPr/>
          <p:nvPr/>
        </p:nvSpPr>
        <p:spPr>
          <a:xfrm>
            <a:off x="7673625" y="4071839"/>
            <a:ext cx="2939411" cy="1960977"/>
          </a:xfrm>
          <a:prstGeom prst="roundRect">
            <a:avLst>
              <a:gd name="adj" fmla="val 5190"/>
            </a:avLst>
          </a:prstGeom>
          <a:solidFill>
            <a:srgbClr val="151421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3046BA8-E75D-2BE7-EE3E-88DAD3095ECC}"/>
              </a:ext>
            </a:extLst>
          </p:cNvPr>
          <p:cNvSpPr txBox="1"/>
          <p:nvPr/>
        </p:nvSpPr>
        <p:spPr>
          <a:xfrm>
            <a:off x="1039162" y="4966662"/>
            <a:ext cx="243146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b="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 turn off the self-update feature for products</a:t>
            </a:r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85EF24F-E25D-9803-0E50-5583DB7F78B5}"/>
              </a:ext>
            </a:extLst>
          </p:cNvPr>
          <p:cNvSpPr txBox="1"/>
          <p:nvPr/>
        </p:nvSpPr>
        <p:spPr>
          <a:xfrm>
            <a:off x="1039162" y="3952935"/>
            <a:ext cx="2130218" cy="749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Disable Self-Update Feature  for Applications  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2A2F2A0-2830-FAC8-46AE-6650608CD0EB}"/>
              </a:ext>
            </a:extLst>
          </p:cNvPr>
          <p:cNvSpPr/>
          <p:nvPr/>
        </p:nvSpPr>
        <p:spPr>
          <a:xfrm>
            <a:off x="7771913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hoek: afgeronde hoeken 61">
            <a:extLst>
              <a:ext uri="{FF2B5EF4-FFF2-40B4-BE49-F238E27FC236}">
                <a16:creationId xmlns:a16="http://schemas.microsoft.com/office/drawing/2014/main" id="{7E5870C2-28A4-DF1D-BC27-91C57539B7FD}"/>
              </a:ext>
            </a:extLst>
          </p:cNvPr>
          <p:cNvSpPr/>
          <p:nvPr/>
        </p:nvSpPr>
        <p:spPr>
          <a:xfrm>
            <a:off x="7997333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0AAC497-3578-8995-5735-9A6A03083CF3}"/>
              </a:ext>
            </a:extLst>
          </p:cNvPr>
          <p:cNvSpPr/>
          <p:nvPr/>
        </p:nvSpPr>
        <p:spPr>
          <a:xfrm>
            <a:off x="4299918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hoek: afgeronde hoeken 61">
            <a:extLst>
              <a:ext uri="{FF2B5EF4-FFF2-40B4-BE49-F238E27FC236}">
                <a16:creationId xmlns:a16="http://schemas.microsoft.com/office/drawing/2014/main" id="{F44E7A12-A18A-DA16-AD5D-A5BA7264CEC1}"/>
              </a:ext>
            </a:extLst>
          </p:cNvPr>
          <p:cNvSpPr/>
          <p:nvPr/>
        </p:nvSpPr>
        <p:spPr>
          <a:xfrm>
            <a:off x="4525338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293BC7-E72E-4FB0-88FB-0983DB8CF602}"/>
              </a:ext>
            </a:extLst>
          </p:cNvPr>
          <p:cNvSpPr txBox="1"/>
          <p:nvPr/>
        </p:nvSpPr>
        <p:spPr>
          <a:xfrm>
            <a:off x="4499956" y="1797283"/>
            <a:ext cx="2900187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 categories to your applications in both </a:t>
            </a:r>
            <a:r>
              <a:rPr lang="en-US" sz="1200" i="0" spc="-30" err="1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onfigMgr</a:t>
            </a:r>
            <a:r>
              <a:rPr lang="en-US" sz="1200" i="0" spc="-3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 and Intune to allow 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end-users to easily sort in Software Center or Company Portal for applications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A0B1C2-7DF4-EBFF-C00A-3562485B34AE}"/>
              </a:ext>
            </a:extLst>
          </p:cNvPr>
          <p:cNvSpPr txBox="1"/>
          <p:nvPr/>
        </p:nvSpPr>
        <p:spPr>
          <a:xfrm>
            <a:off x="4487668" y="825908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dd Categories to Applications for Easy Sort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88BF36-8C56-B729-3CAE-D1987B1BB407}"/>
              </a:ext>
            </a:extLst>
          </p:cNvPr>
          <p:cNvSpPr txBox="1"/>
          <p:nvPr/>
        </p:nvSpPr>
        <p:spPr>
          <a:xfrm>
            <a:off x="7997333" y="1806222"/>
            <a:ext cx="2732231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 add apps to Enrollment Status Pages in Microsoft Intune so they can automatically install during Windows Autopilot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7B9F96-26F5-C725-013D-34CDBACF0B8C}"/>
              </a:ext>
            </a:extLst>
          </p:cNvPr>
          <p:cNvSpPr txBox="1"/>
          <p:nvPr/>
        </p:nvSpPr>
        <p:spPr>
          <a:xfrm>
            <a:off x="7993305" y="752216"/>
            <a:ext cx="2210791" cy="7493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Add </a:t>
            </a:r>
            <a: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  <a:t>Applications to ESPs</a:t>
            </a: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 for </a:t>
            </a:r>
            <a:r>
              <a:rPr lang="en-US" sz="1600" b="1" i="0" spc="-30">
                <a:solidFill>
                  <a:srgbClr val="FFFFFF"/>
                </a:solidFill>
                <a:effectLst/>
                <a:latin typeface="Poppins"/>
                <a:cs typeface="Poppins"/>
              </a:rPr>
              <a:t>Autopilot in Intun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4C541D6E-69FA-2803-3F1C-31F3F4600FCF}"/>
              </a:ext>
            </a:extLst>
          </p:cNvPr>
          <p:cNvSpPr/>
          <p:nvPr/>
        </p:nvSpPr>
        <p:spPr>
          <a:xfrm>
            <a:off x="806511" y="490230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hoek: afgeronde hoeken 61">
            <a:extLst>
              <a:ext uri="{FF2B5EF4-FFF2-40B4-BE49-F238E27FC236}">
                <a16:creationId xmlns:a16="http://schemas.microsoft.com/office/drawing/2014/main" id="{1DFD0209-5EE0-E4B7-C470-DA5AE064F8D1}"/>
              </a:ext>
            </a:extLst>
          </p:cNvPr>
          <p:cNvSpPr/>
          <p:nvPr/>
        </p:nvSpPr>
        <p:spPr>
          <a:xfrm>
            <a:off x="1031931" y="658641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D364D79-BE7F-DCD9-4AB6-D544B72A5FE4}"/>
              </a:ext>
            </a:extLst>
          </p:cNvPr>
          <p:cNvSpPr txBox="1"/>
          <p:nvPr/>
        </p:nvSpPr>
        <p:spPr>
          <a:xfrm>
            <a:off x="1006550" y="1782847"/>
            <a:ext cx="2680332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s the ability to delay the processing of new updates. This feature can help delay specific products from updating due to business requirements</a:t>
            </a:r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4D66C06-378F-A714-8BFC-FBBBD97BDEFD}"/>
              </a:ext>
            </a:extLst>
          </p:cNvPr>
          <p:cNvSpPr txBox="1"/>
          <p:nvPr/>
        </p:nvSpPr>
        <p:spPr>
          <a:xfrm>
            <a:off x="994261" y="811472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Pause Application Creation for Specific Products  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6D5AB0B6-1FB4-E1AD-3FC8-D1E95A40B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4665" y="811472"/>
            <a:ext cx="395528" cy="39552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03A75B64-CBB3-565F-E889-EBC7D710CE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28041" y="825184"/>
            <a:ext cx="395528" cy="39552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858530B9-BADA-2EFC-A821-310252D396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34036" y="825184"/>
            <a:ext cx="395528" cy="3955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30A6E63-959E-7264-2463-BB3388B0F6E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4981" t="35204"/>
          <a:stretch/>
        </p:blipFill>
        <p:spPr>
          <a:xfrm>
            <a:off x="7736055" y="4419903"/>
            <a:ext cx="2815732" cy="1213609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C79557DE-AC06-8D60-AA59-CB1C9F60A5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76983" y="3994263"/>
            <a:ext cx="513210" cy="27371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9B838F-A61F-3F69-A1B9-313230697FD6}"/>
              </a:ext>
            </a:extLst>
          </p:cNvPr>
          <p:cNvCxnSpPr>
            <a:cxnSpLocks/>
          </p:cNvCxnSpPr>
          <p:nvPr/>
        </p:nvCxnSpPr>
        <p:spPr>
          <a:xfrm>
            <a:off x="1121801" y="1678016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C32E464-E496-8BF4-3574-A257943A2599}"/>
              </a:ext>
            </a:extLst>
          </p:cNvPr>
          <p:cNvCxnSpPr>
            <a:cxnSpLocks/>
          </p:cNvCxnSpPr>
          <p:nvPr/>
        </p:nvCxnSpPr>
        <p:spPr>
          <a:xfrm>
            <a:off x="4597454" y="1716894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325D76-75F6-EB32-BA81-572AC8C69A24}"/>
              </a:ext>
            </a:extLst>
          </p:cNvPr>
          <p:cNvCxnSpPr>
            <a:cxnSpLocks/>
          </p:cNvCxnSpPr>
          <p:nvPr/>
        </p:nvCxnSpPr>
        <p:spPr>
          <a:xfrm>
            <a:off x="8096434" y="1716894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845B0B5-846F-22EB-6A3F-24237975A6C9}"/>
              </a:ext>
            </a:extLst>
          </p:cNvPr>
          <p:cNvCxnSpPr>
            <a:cxnSpLocks/>
          </p:cNvCxnSpPr>
          <p:nvPr/>
        </p:nvCxnSpPr>
        <p:spPr>
          <a:xfrm>
            <a:off x="1121801" y="4850425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6223C04-37CA-1F37-2EF4-786CA8E04F37}"/>
              </a:ext>
            </a:extLst>
          </p:cNvPr>
          <p:cNvCxnSpPr>
            <a:cxnSpLocks/>
          </p:cNvCxnSpPr>
          <p:nvPr/>
        </p:nvCxnSpPr>
        <p:spPr>
          <a:xfrm>
            <a:off x="4597454" y="467158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8522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3316D-0B4D-D84D-C1F1-4A3A4574B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!!BG">
            <a:extLst>
              <a:ext uri="{FF2B5EF4-FFF2-40B4-BE49-F238E27FC236}">
                <a16:creationId xmlns:a16="http://schemas.microsoft.com/office/drawing/2014/main" id="{9CCB7040-17D0-6EE3-59F7-ED1F1E1950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-1"/>
            <a:ext cx="12193722" cy="6858000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37753ABF-ED41-A7C4-A639-31BFEA4C4E33}"/>
              </a:ext>
            </a:extLst>
          </p:cNvPr>
          <p:cNvSpPr/>
          <p:nvPr/>
        </p:nvSpPr>
        <p:spPr>
          <a:xfrm>
            <a:off x="6639021" y="4358848"/>
            <a:ext cx="4071020" cy="1728337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984573-66AC-850C-622A-C53A9B5AC9B4}"/>
              </a:ext>
            </a:extLst>
          </p:cNvPr>
          <p:cNvSpPr txBox="1"/>
          <p:nvPr/>
        </p:nvSpPr>
        <p:spPr>
          <a:xfrm>
            <a:off x="715053" y="4488490"/>
            <a:ext cx="2515432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Best choice for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68B4CF-BBF6-B5FA-1351-2B062450F468}"/>
              </a:ext>
            </a:extLst>
          </p:cNvPr>
          <p:cNvSpPr txBox="1"/>
          <p:nvPr/>
        </p:nvSpPr>
        <p:spPr>
          <a:xfrm>
            <a:off x="715053" y="4913898"/>
            <a:ext cx="4817946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Microsoft </a:t>
            </a:r>
            <a:r>
              <a:rPr lang="en-US" sz="1600" err="1">
                <a:solidFill>
                  <a:schemeClr val="bg2"/>
                </a:solidFill>
              </a:rPr>
              <a:t>ConfigMgr</a:t>
            </a:r>
            <a:r>
              <a:rPr lang="en-US" sz="1600">
                <a:solidFill>
                  <a:schemeClr val="bg2"/>
                </a:solidFill>
              </a:rPr>
              <a:t> environments</a:t>
            </a:r>
            <a:br>
              <a:rPr lang="en-US" sz="1600"/>
            </a:br>
            <a:r>
              <a:rPr lang="en-US" sz="1600">
                <a:solidFill>
                  <a:schemeClr val="bg2"/>
                </a:solidFill>
              </a:rPr>
              <a:t>WSUS environments</a:t>
            </a:r>
            <a:endParaRPr lang="en-US" sz="1600">
              <a:solidFill>
                <a:schemeClr val="bg2"/>
              </a:solidFill>
              <a:cs typeface="Poppins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Combined Intune and </a:t>
            </a:r>
            <a:r>
              <a:rPr lang="en-US" sz="1600" err="1">
                <a:solidFill>
                  <a:schemeClr val="bg2"/>
                </a:solidFill>
              </a:rPr>
              <a:t>ConfigMgr</a:t>
            </a:r>
            <a:r>
              <a:rPr lang="en-US" sz="1600">
                <a:solidFill>
                  <a:schemeClr val="bg2"/>
                </a:solidFill>
              </a:rPr>
              <a:t> environments</a:t>
            </a:r>
            <a:endParaRPr lang="en-US" sz="1600">
              <a:solidFill>
                <a:schemeClr val="bg2"/>
              </a:solidFill>
              <a:cs typeface="Poppin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661C830-A910-877A-E98D-9B7BB1481421}"/>
              </a:ext>
            </a:extLst>
          </p:cNvPr>
          <p:cNvCxnSpPr>
            <a:cxnSpLocks/>
          </p:cNvCxnSpPr>
          <p:nvPr/>
        </p:nvCxnSpPr>
        <p:spPr>
          <a:xfrm>
            <a:off x="819038" y="4300088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BE9657D-A97A-96AE-5D89-3FCE33CBB482}"/>
              </a:ext>
            </a:extLst>
          </p:cNvPr>
          <p:cNvSpPr txBox="1"/>
          <p:nvPr/>
        </p:nvSpPr>
        <p:spPr>
          <a:xfrm>
            <a:off x="691513" y="590799"/>
            <a:ext cx="4726064" cy="17543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+mj-lt"/>
              </a:rPr>
              <a:t>Patch My PC</a:t>
            </a:r>
            <a:r>
              <a:rPr lang="en-US" sz="5400" b="1">
                <a:solidFill>
                  <a:schemeClr val="bg2"/>
                </a:solidFill>
                <a:latin typeface="+mj-lt"/>
              </a:rPr>
              <a:t> Publisher</a:t>
            </a:r>
            <a:endParaRPr lang="en-US" sz="4400">
              <a:solidFill>
                <a:schemeClr val="bg2"/>
              </a:solidFill>
              <a:latin typeface="+mj-lt"/>
              <a:cs typeface="Poppi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4F7D73-7C69-16A7-D02E-D843FB21AE64}"/>
              </a:ext>
            </a:extLst>
          </p:cNvPr>
          <p:cNvSpPr txBox="1"/>
          <p:nvPr/>
        </p:nvSpPr>
        <p:spPr>
          <a:xfrm>
            <a:off x="711833" y="2453982"/>
            <a:ext cx="4827728" cy="132343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is a powerful on-premises solution for managing third-party apps &amp; updates in WSUS, ConfigMgr &amp; Intune</a:t>
            </a:r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DCF3F0-DDA8-9A83-5E74-C898ECEAAF9B}"/>
              </a:ext>
            </a:extLst>
          </p:cNvPr>
          <p:cNvSpPr txBox="1"/>
          <p:nvPr/>
        </p:nvSpPr>
        <p:spPr>
          <a:xfrm>
            <a:off x="6867286" y="4491258"/>
            <a:ext cx="3676394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With seamless integration into </a:t>
            </a:r>
            <a:r>
              <a:rPr lang="en-US" sz="1400" err="1">
                <a:solidFill>
                  <a:schemeClr val="bg1"/>
                </a:solidFill>
              </a:rPr>
              <a:t>ConfigMgr</a:t>
            </a:r>
            <a:r>
              <a:rPr lang="en-US" sz="1400">
                <a:solidFill>
                  <a:schemeClr val="bg1"/>
                </a:solidFill>
              </a:rPr>
              <a:t>, Intune, and WSUS, it transforms the traditionally complex update process into a streamlined, automated experience that keeps your applications secure and up to date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D3553E9-39F4-2E85-393A-2793CF5D48D2}"/>
              </a:ext>
            </a:extLst>
          </p:cNvPr>
          <p:cNvGrpSpPr/>
          <p:nvPr/>
        </p:nvGrpSpPr>
        <p:grpSpPr>
          <a:xfrm>
            <a:off x="6371630" y="459175"/>
            <a:ext cx="4590660" cy="3182518"/>
            <a:chOff x="6779679" y="804750"/>
            <a:chExt cx="3872555" cy="2684684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3222A4EE-E748-1859-A78D-A2BB0B9817E6}"/>
                </a:ext>
              </a:extLst>
            </p:cNvPr>
            <p:cNvSpPr/>
            <p:nvPr/>
          </p:nvSpPr>
          <p:spPr>
            <a:xfrm>
              <a:off x="6779679" y="804750"/>
              <a:ext cx="3872555" cy="2684684"/>
            </a:xfrm>
            <a:prstGeom prst="roundRect">
              <a:avLst>
                <a:gd name="adj" fmla="val 9594"/>
              </a:avLst>
            </a:prstGeom>
            <a:solidFill>
              <a:srgbClr val="006094">
                <a:alpha val="9804"/>
              </a:srgb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1D54657-27F3-9ADA-6B24-2CEDC4FF0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35000"/>
            </a:blip>
            <a:srcRect b="33169"/>
            <a:stretch/>
          </p:blipFill>
          <p:spPr>
            <a:xfrm>
              <a:off x="6984071" y="1010108"/>
              <a:ext cx="3464239" cy="2289355"/>
            </a:xfrm>
            <a:prstGeom prst="rect">
              <a:avLst/>
            </a:prstGeom>
          </p:spPr>
        </p:pic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A21C83B6-404F-24F3-4C52-8C4029151254}"/>
                </a:ext>
              </a:extLst>
            </p:cNvPr>
            <p:cNvSpPr/>
            <p:nvPr/>
          </p:nvSpPr>
          <p:spPr>
            <a:xfrm>
              <a:off x="6946040" y="957090"/>
              <a:ext cx="3539833" cy="2380004"/>
            </a:xfrm>
            <a:prstGeom prst="roundRect">
              <a:avLst>
                <a:gd name="adj" fmla="val 8727"/>
              </a:avLst>
            </a:prstGeom>
            <a:noFill/>
            <a:ln w="127000">
              <a:gradFill flip="none" rotWithShape="1">
                <a:gsLst>
                  <a:gs pos="42000">
                    <a:srgbClr val="003F61"/>
                  </a:gs>
                  <a:gs pos="0">
                    <a:srgbClr val="006094"/>
                  </a:gs>
                  <a:gs pos="81000">
                    <a:srgbClr val="006094"/>
                  </a:gs>
                  <a:gs pos="100000">
                    <a:srgbClr val="003F61"/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41C158F0-4803-3036-3BD8-15FE899B102D}"/>
              </a:ext>
            </a:extLst>
          </p:cNvPr>
          <p:cNvSpPr/>
          <p:nvPr/>
        </p:nvSpPr>
        <p:spPr>
          <a:xfrm>
            <a:off x="7336849" y="1046310"/>
            <a:ext cx="2321538" cy="2964083"/>
          </a:xfrm>
          <a:prstGeom prst="roundRect">
            <a:avLst>
              <a:gd name="adj" fmla="val 5190"/>
            </a:avLst>
          </a:prstGeom>
          <a:solidFill>
            <a:srgbClr val="FDFDFD"/>
          </a:solidFill>
          <a:ln w="28575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A7B2E58-412C-D448-F958-441ABADBEDC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8023" t="8968" r="11950" b="616"/>
          <a:stretch/>
        </p:blipFill>
        <p:spPr>
          <a:xfrm>
            <a:off x="7485055" y="1225087"/>
            <a:ext cx="2068848" cy="264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820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AB5738-D77D-36D6-EDCD-6462684DA6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!!BG">
            <a:extLst>
              <a:ext uri="{FF2B5EF4-FFF2-40B4-BE49-F238E27FC236}">
                <a16:creationId xmlns:a16="http://schemas.microsoft.com/office/drawing/2014/main" id="{6A38B25E-48AE-EEFD-C016-405FF3E764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V="1">
            <a:off x="-1722" y="-295108"/>
            <a:ext cx="12193722" cy="795922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A97476BA-78CF-C38B-C0EB-0D542B0E62E1}"/>
              </a:ext>
            </a:extLst>
          </p:cNvPr>
          <p:cNvSpPr/>
          <p:nvPr/>
        </p:nvSpPr>
        <p:spPr>
          <a:xfrm>
            <a:off x="1668954" y="843956"/>
            <a:ext cx="8287249" cy="3974891"/>
          </a:xfrm>
          <a:prstGeom prst="roundRect">
            <a:avLst>
              <a:gd name="adj" fmla="val 7049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DC6F14-1836-C5AA-BD77-9295FE49B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4756" y="1051590"/>
            <a:ext cx="7795252" cy="35380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6D9B8A3-DE36-58E2-1BAA-B34DB2ADFDC4}"/>
              </a:ext>
            </a:extLst>
          </p:cNvPr>
          <p:cNvSpPr txBox="1"/>
          <p:nvPr/>
        </p:nvSpPr>
        <p:spPr>
          <a:xfrm>
            <a:off x="1561215" y="5124155"/>
            <a:ext cx="8287249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Patch My PC Publisher automates app &amp; update creation</a:t>
            </a:r>
            <a:endParaRPr lang="en-US">
              <a:solidFill>
                <a:schemeClr val="bg1"/>
              </a:solidFill>
              <a:cs typeface="Poppins"/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with native SDK integration in </a:t>
            </a:r>
            <a:r>
              <a:rPr lang="en-US" err="1">
                <a:solidFill>
                  <a:schemeClr val="bg1"/>
                </a:solidFill>
              </a:rPr>
              <a:t>ConfigMgr</a:t>
            </a:r>
            <a:r>
              <a:rPr lang="en-US">
                <a:solidFill>
                  <a:schemeClr val="bg1"/>
                </a:solidFill>
              </a:rPr>
              <a:t>. Deploy apps </a:t>
            </a:r>
            <a:r>
              <a:rPr lang="en-US" b="1">
                <a:solidFill>
                  <a:schemeClr val="bg2"/>
                </a:solidFill>
              </a:rPr>
              <a:t>AND</a:t>
            </a:r>
            <a:r>
              <a:rPr lang="en-US" b="1">
                <a:solidFill>
                  <a:schemeClr val="bg1"/>
                </a:solidFill>
              </a:rPr>
              <a:t> 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updates in a way your team are already familiar with. </a:t>
            </a:r>
            <a:br>
              <a:rPr lang="en-US">
                <a:solidFill>
                  <a:schemeClr val="bg1"/>
                </a:solidFill>
              </a:rPr>
            </a:br>
            <a:r>
              <a:rPr lang="en-US" i="1">
                <a:solidFill>
                  <a:schemeClr val="bg1"/>
                </a:solidFill>
              </a:rPr>
              <a:t>No need to upskill on a new deployment tool. </a:t>
            </a:r>
            <a:endParaRPr lang="en-US" i="1">
              <a:solidFill>
                <a:schemeClr val="bg1"/>
              </a:solidFill>
              <a:cs typeface="Poppins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C3FF777-F02A-0180-13BE-FFA22C413EF2}"/>
              </a:ext>
            </a:extLst>
          </p:cNvPr>
          <p:cNvSpPr/>
          <p:nvPr/>
        </p:nvSpPr>
        <p:spPr>
          <a:xfrm>
            <a:off x="1895149" y="1018843"/>
            <a:ext cx="7834859" cy="3602636"/>
          </a:xfrm>
          <a:prstGeom prst="roundRect">
            <a:avLst>
              <a:gd name="adj" fmla="val 4913"/>
            </a:avLst>
          </a:prstGeom>
          <a:noFill/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ep 1">
            <a:extLst>
              <a:ext uri="{FF2B5EF4-FFF2-40B4-BE49-F238E27FC236}">
                <a16:creationId xmlns:a16="http://schemas.microsoft.com/office/drawing/2014/main" id="{D047AFDF-6483-8078-7E11-22A5306F25E6}"/>
              </a:ext>
            </a:extLst>
          </p:cNvPr>
          <p:cNvGrpSpPr/>
          <p:nvPr/>
        </p:nvGrpSpPr>
        <p:grpSpPr>
          <a:xfrm>
            <a:off x="1257756" y="499717"/>
            <a:ext cx="3177609" cy="1038252"/>
            <a:chOff x="1477915" y="2805474"/>
            <a:chExt cx="764572" cy="790205"/>
          </a:xfrm>
        </p:grpSpPr>
        <p:sp>
          <p:nvSpPr>
            <p:cNvPr id="9" name="Rechthoek: afgeronde hoeken 2">
              <a:extLst>
                <a:ext uri="{FF2B5EF4-FFF2-40B4-BE49-F238E27FC236}">
                  <a16:creationId xmlns:a16="http://schemas.microsoft.com/office/drawing/2014/main" id="{CE7DD9CA-E9A7-ECB3-2BDC-E7243362A689}"/>
                </a:ext>
              </a:extLst>
            </p:cNvPr>
            <p:cNvSpPr/>
            <p:nvPr/>
          </p:nvSpPr>
          <p:spPr>
            <a:xfrm>
              <a:off x="1477915" y="2805474"/>
              <a:ext cx="764572" cy="790205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12" name="Tekstvak 3">
              <a:extLst>
                <a:ext uri="{FF2B5EF4-FFF2-40B4-BE49-F238E27FC236}">
                  <a16:creationId xmlns:a16="http://schemas.microsoft.com/office/drawing/2014/main" id="{A0A2A108-6FDD-B458-9C18-E5001C10B0FE}"/>
                </a:ext>
              </a:extLst>
            </p:cNvPr>
            <p:cNvSpPr txBox="1"/>
            <p:nvPr/>
          </p:nvSpPr>
          <p:spPr>
            <a:xfrm>
              <a:off x="1526827" y="2845519"/>
              <a:ext cx="668876" cy="7261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Configuration Manager</a:t>
              </a:r>
            </a:p>
          </p:txBody>
        </p:sp>
      </p:grp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E76A7CD-FE09-FD86-9A27-FC365F8BFA3A}"/>
              </a:ext>
            </a:extLst>
          </p:cNvPr>
          <p:cNvSpPr/>
          <p:nvPr/>
        </p:nvSpPr>
        <p:spPr>
          <a:xfrm>
            <a:off x="8143263" y="2568816"/>
            <a:ext cx="3399686" cy="2424918"/>
          </a:xfrm>
          <a:prstGeom prst="roundRect">
            <a:avLst>
              <a:gd name="adj" fmla="val 9686"/>
            </a:avLst>
          </a:prstGeom>
          <a:solidFill>
            <a:schemeClr val="bg2">
              <a:alpha val="9804"/>
            </a:scheme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0AD22D4-5030-CC9E-61B4-154A69FBAC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8168" y="2705711"/>
            <a:ext cx="3112113" cy="2105695"/>
          </a:xfrm>
          <a:prstGeom prst="rect">
            <a:avLst/>
          </a:prstGeom>
          <a:noFill/>
          <a:ln w="25400">
            <a:noFill/>
          </a:ln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7785391-9A8F-0370-1A4C-F5D9B97F0AAC}"/>
              </a:ext>
            </a:extLst>
          </p:cNvPr>
          <p:cNvSpPr/>
          <p:nvPr/>
        </p:nvSpPr>
        <p:spPr>
          <a:xfrm>
            <a:off x="8288169" y="2681460"/>
            <a:ext cx="3112114" cy="2163620"/>
          </a:xfrm>
          <a:prstGeom prst="roundRect">
            <a:avLst>
              <a:gd name="adj" fmla="val 6189"/>
            </a:avLst>
          </a:prstGeom>
          <a:noFill/>
          <a:ln w="63500">
            <a:gradFill>
              <a:gsLst>
                <a:gs pos="0">
                  <a:schemeClr val="bg2"/>
                </a:gs>
                <a:gs pos="45000">
                  <a:schemeClr val="bg2"/>
                </a:gs>
                <a:gs pos="81000">
                  <a:schemeClr val="bg2">
                    <a:lumMod val="40000"/>
                    <a:lumOff val="60000"/>
                  </a:schemeClr>
                </a:gs>
                <a:gs pos="100000">
                  <a:schemeClr val="bg2"/>
                </a:gs>
              </a:gsLst>
              <a:lin ang="120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99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4" dur="300" fill="hold"/>
                                        <p:tgtEl>
                                          <p:spTgt spid="8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49A180-1740-18B9-F91D-A75C1DB35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0">
            <a:extLst>
              <a:ext uri="{FF2B5EF4-FFF2-40B4-BE49-F238E27FC236}">
                <a16:creationId xmlns:a16="http://schemas.microsoft.com/office/drawing/2014/main" id="{8F8C39C6-8407-48F2-25DC-EE2954B65EEA}"/>
              </a:ext>
            </a:extLst>
          </p:cNvPr>
          <p:cNvSpPr/>
          <p:nvPr/>
        </p:nvSpPr>
        <p:spPr>
          <a:xfrm rot="10800000">
            <a:off x="31750" y="13132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006094">
                  <a:alpha val="72000"/>
                </a:srgbClr>
              </a:gs>
              <a:gs pos="52000">
                <a:srgbClr val="15152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49F5E419-F9F0-3C63-16E1-8FB200C92413}"/>
              </a:ext>
            </a:extLst>
          </p:cNvPr>
          <p:cNvSpPr/>
          <p:nvPr/>
        </p:nvSpPr>
        <p:spPr>
          <a:xfrm>
            <a:off x="1199922" y="2281514"/>
            <a:ext cx="4108200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hoek: afgeronde hoeken 61">
            <a:extLst>
              <a:ext uri="{FF2B5EF4-FFF2-40B4-BE49-F238E27FC236}">
                <a16:creationId xmlns:a16="http://schemas.microsoft.com/office/drawing/2014/main" id="{5D84C4EC-90DC-669A-FF98-2D7956F3ACD6}"/>
              </a:ext>
            </a:extLst>
          </p:cNvPr>
          <p:cNvSpPr/>
          <p:nvPr/>
        </p:nvSpPr>
        <p:spPr>
          <a:xfrm>
            <a:off x="1477894" y="2460435"/>
            <a:ext cx="3946840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3BF9A9-9651-7694-8163-E3F90D646935}"/>
              </a:ext>
            </a:extLst>
          </p:cNvPr>
          <p:cNvSpPr txBox="1"/>
          <p:nvPr/>
        </p:nvSpPr>
        <p:spPr>
          <a:xfrm>
            <a:off x="2373047" y="861721"/>
            <a:ext cx="75094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>
                <a:solidFill>
                  <a:schemeClr val="bg2"/>
                </a:solidFill>
              </a:rPr>
              <a:t>WSUS Standalo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565F6D3-A1B0-0C51-D2F6-EFED4656BB89}"/>
              </a:ext>
            </a:extLst>
          </p:cNvPr>
          <p:cNvSpPr txBox="1"/>
          <p:nvPr/>
        </p:nvSpPr>
        <p:spPr>
          <a:xfrm>
            <a:off x="1521922" y="2518337"/>
            <a:ext cx="3633962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No need to change your existing update approval process in </a:t>
            </a:r>
            <a:r>
              <a:rPr lang="en-US" sz="2000" b="1">
                <a:solidFill>
                  <a:schemeClr val="bg2"/>
                </a:solidFill>
              </a:rPr>
              <a:t>WSUS Standalone Mode.</a:t>
            </a:r>
            <a:r>
              <a:rPr lang="en-US" sz="2000">
                <a:solidFill>
                  <a:schemeClr val="bg1"/>
                </a:solidFill>
              </a:rPr>
              <a:t> Third party updates appear in WSUS the same way as Microsoft Updates.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CDF76E4-2D68-64F4-068B-23E3BAD3CE9F}"/>
              </a:ext>
            </a:extLst>
          </p:cNvPr>
          <p:cNvSpPr/>
          <p:nvPr/>
        </p:nvSpPr>
        <p:spPr>
          <a:xfrm>
            <a:off x="5819253" y="2281514"/>
            <a:ext cx="5662768" cy="2827924"/>
          </a:xfrm>
          <a:prstGeom prst="roundRect">
            <a:avLst>
              <a:gd name="adj" fmla="val 454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159FB5-75B2-8BEF-56FF-F0B73E721E8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99" t="489" r="564" b="845"/>
          <a:stretch/>
        </p:blipFill>
        <p:spPr>
          <a:xfrm>
            <a:off x="6032849" y="2321126"/>
            <a:ext cx="5235575" cy="2619727"/>
          </a:xfrm>
          <a:prstGeom prst="rect">
            <a:avLst/>
          </a:prstGeom>
        </p:spPr>
      </p:pic>
      <p:sp>
        <p:nvSpPr>
          <p:cNvPr id="8" name="Rechthoek: afgeronde hoeken 61">
            <a:extLst>
              <a:ext uri="{FF2B5EF4-FFF2-40B4-BE49-F238E27FC236}">
                <a16:creationId xmlns:a16="http://schemas.microsoft.com/office/drawing/2014/main" id="{0136E933-855A-51E1-1AEB-8A864DC1F630}"/>
              </a:ext>
            </a:extLst>
          </p:cNvPr>
          <p:cNvSpPr/>
          <p:nvPr/>
        </p:nvSpPr>
        <p:spPr>
          <a:xfrm>
            <a:off x="7676137" y="2454648"/>
            <a:ext cx="3946840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019093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A6FD3-1E3C-6FE0-C1DA-D81D1767F8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!!BG">
            <a:extLst>
              <a:ext uri="{FF2B5EF4-FFF2-40B4-BE49-F238E27FC236}">
                <a16:creationId xmlns:a16="http://schemas.microsoft.com/office/drawing/2014/main" id="{4190BD32-675C-6894-B662-606CC6D9F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V="1">
            <a:off x="-1722" y="-300363"/>
            <a:ext cx="12193722" cy="795922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14C8B8B-BC49-8C4B-04D1-C398519AB3E0}"/>
              </a:ext>
            </a:extLst>
          </p:cNvPr>
          <p:cNvSpPr txBox="1"/>
          <p:nvPr/>
        </p:nvSpPr>
        <p:spPr>
          <a:xfrm>
            <a:off x="1906286" y="5313830"/>
            <a:ext cx="7738898" cy="9233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Native integration with Intune. Deploy Win32 apps </a:t>
            </a:r>
            <a:r>
              <a:rPr lang="en-US" b="1">
                <a:solidFill>
                  <a:schemeClr val="bg2"/>
                </a:solidFill>
              </a:rPr>
              <a:t>AND</a:t>
            </a:r>
            <a:r>
              <a:rPr lang="en-US" b="1">
                <a:solidFill>
                  <a:schemeClr val="bg1"/>
                </a:solidFill>
              </a:rPr>
              <a:t> </a:t>
            </a:r>
            <a:br>
              <a:rPr lang="en-US">
                <a:solidFill>
                  <a:schemeClr val="bg1"/>
                </a:solidFill>
                <a:cs typeface="Poppins"/>
              </a:rPr>
            </a:br>
            <a:r>
              <a:rPr lang="en-US">
                <a:solidFill>
                  <a:schemeClr val="bg1"/>
                </a:solidFill>
              </a:rPr>
              <a:t>updates in a way your team are already familiar with. </a:t>
            </a:r>
            <a:br>
              <a:rPr lang="en-US"/>
            </a:br>
            <a:r>
              <a:rPr lang="en-US" i="1">
                <a:solidFill>
                  <a:schemeClr val="bg1"/>
                </a:solidFill>
              </a:rPr>
              <a:t>No need to upskill on a new deployment tool.</a:t>
            </a:r>
            <a:endParaRPr lang="en-US" i="1">
              <a:solidFill>
                <a:schemeClr val="bg1"/>
              </a:solidFill>
              <a:cs typeface="Poppin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3484AB-6F57-3EFE-2339-F1DA460F7512}"/>
              </a:ext>
            </a:extLst>
          </p:cNvPr>
          <p:cNvGrpSpPr/>
          <p:nvPr/>
        </p:nvGrpSpPr>
        <p:grpSpPr>
          <a:xfrm>
            <a:off x="1668954" y="1243347"/>
            <a:ext cx="8287249" cy="3974891"/>
            <a:chOff x="1758891" y="1243347"/>
            <a:chExt cx="8287249" cy="3974891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B71E52FA-460E-58CE-D761-21E942D9FA2C}"/>
                </a:ext>
              </a:extLst>
            </p:cNvPr>
            <p:cNvSpPr/>
            <p:nvPr/>
          </p:nvSpPr>
          <p:spPr>
            <a:xfrm>
              <a:off x="1758891" y="1243347"/>
              <a:ext cx="8287249" cy="3974891"/>
            </a:xfrm>
            <a:prstGeom prst="roundRect">
              <a:avLst>
                <a:gd name="adj" fmla="val 7049"/>
              </a:avLst>
            </a:prstGeom>
            <a:solidFill>
              <a:srgbClr val="006094">
                <a:alpha val="9804"/>
              </a:srgb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750D684-2ABC-36E6-01F4-BB056B044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4685" b="11810"/>
            <a:stretch/>
          </p:blipFill>
          <p:spPr>
            <a:xfrm>
              <a:off x="2035230" y="1465128"/>
              <a:ext cx="7733620" cy="3518139"/>
            </a:xfrm>
            <a:prstGeom prst="rect">
              <a:avLst/>
            </a:prstGeom>
          </p:spPr>
        </p:pic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64C9A632-F96C-7E50-4C34-6DAC168D0579}"/>
                </a:ext>
              </a:extLst>
            </p:cNvPr>
            <p:cNvSpPr/>
            <p:nvPr/>
          </p:nvSpPr>
          <p:spPr>
            <a:xfrm>
              <a:off x="1985086" y="1418234"/>
              <a:ext cx="7834859" cy="3602636"/>
            </a:xfrm>
            <a:prstGeom prst="roundRect">
              <a:avLst>
                <a:gd name="adj" fmla="val 4913"/>
              </a:avLst>
            </a:prstGeom>
            <a:noFill/>
            <a:ln w="127000">
              <a:gradFill flip="none" rotWithShape="1">
                <a:gsLst>
                  <a:gs pos="42000">
                    <a:srgbClr val="003F61"/>
                  </a:gs>
                  <a:gs pos="0">
                    <a:srgbClr val="006094"/>
                  </a:gs>
                  <a:gs pos="81000">
                    <a:srgbClr val="006094"/>
                  </a:gs>
                  <a:gs pos="100000">
                    <a:srgbClr val="003F61"/>
                  </a:gs>
                </a:gsLst>
                <a:lin ang="10800000" scaled="0"/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802FBE7-BA2F-C90C-5217-E2053DFED322}"/>
              </a:ext>
            </a:extLst>
          </p:cNvPr>
          <p:cNvGrpSpPr/>
          <p:nvPr/>
        </p:nvGrpSpPr>
        <p:grpSpPr>
          <a:xfrm>
            <a:off x="7873905" y="2099604"/>
            <a:ext cx="3537679" cy="2523345"/>
            <a:chOff x="7693384" y="1105105"/>
            <a:chExt cx="3537679" cy="2523345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3BA39C1-C793-87BD-F9FD-410E860C79AD}"/>
                </a:ext>
              </a:extLst>
            </p:cNvPr>
            <p:cNvSpPr/>
            <p:nvPr/>
          </p:nvSpPr>
          <p:spPr>
            <a:xfrm>
              <a:off x="7693384" y="1105105"/>
              <a:ext cx="3537679" cy="2523345"/>
            </a:xfrm>
            <a:prstGeom prst="roundRect">
              <a:avLst>
                <a:gd name="adj" fmla="val 9686"/>
              </a:avLst>
            </a:prstGeom>
            <a:solidFill>
              <a:schemeClr val="bg2">
                <a:alpha val="9804"/>
              </a:schemeClr>
            </a:solidFill>
            <a:ln w="1270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32E5DA3-16C0-A233-52B6-C97A1694F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b="1110"/>
            <a:stretch/>
          </p:blipFill>
          <p:spPr>
            <a:xfrm>
              <a:off x="7868174" y="1243347"/>
              <a:ext cx="3183565" cy="2226455"/>
            </a:xfrm>
            <a:prstGeom prst="rect">
              <a:avLst/>
            </a:prstGeom>
            <a:ln w="41275">
              <a:noFill/>
            </a:ln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F192B181-4E07-0DC8-FE3E-6E89DCB11DEB}"/>
                </a:ext>
              </a:extLst>
            </p:cNvPr>
            <p:cNvSpPr/>
            <p:nvPr/>
          </p:nvSpPr>
          <p:spPr>
            <a:xfrm>
              <a:off x="7838291" y="1228355"/>
              <a:ext cx="3238434" cy="2251441"/>
            </a:xfrm>
            <a:prstGeom prst="roundRect">
              <a:avLst>
                <a:gd name="adj" fmla="val 6189"/>
              </a:avLst>
            </a:prstGeom>
            <a:noFill/>
            <a:ln w="63500">
              <a:gradFill>
                <a:gsLst>
                  <a:gs pos="0">
                    <a:schemeClr val="bg2"/>
                  </a:gs>
                  <a:gs pos="45000">
                    <a:schemeClr val="bg2"/>
                  </a:gs>
                  <a:gs pos="81000">
                    <a:schemeClr val="bg2">
                      <a:lumMod val="40000"/>
                      <a:lumOff val="60000"/>
                    </a:schemeClr>
                  </a:gs>
                  <a:gs pos="100000">
                    <a:schemeClr val="bg2"/>
                  </a:gs>
                </a:gsLst>
                <a:lin ang="1200000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ep 1">
            <a:extLst>
              <a:ext uri="{FF2B5EF4-FFF2-40B4-BE49-F238E27FC236}">
                <a16:creationId xmlns:a16="http://schemas.microsoft.com/office/drawing/2014/main" id="{13C51670-5E24-B6E0-C221-26970C995FBE}"/>
              </a:ext>
            </a:extLst>
          </p:cNvPr>
          <p:cNvGrpSpPr/>
          <p:nvPr/>
        </p:nvGrpSpPr>
        <p:grpSpPr>
          <a:xfrm>
            <a:off x="1289287" y="716842"/>
            <a:ext cx="2549541" cy="922920"/>
            <a:chOff x="1477915" y="2805474"/>
            <a:chExt cx="1644636" cy="702427"/>
          </a:xfrm>
        </p:grpSpPr>
        <p:sp>
          <p:nvSpPr>
            <p:cNvPr id="17" name="Rechthoek: afgeronde hoeken 2">
              <a:extLst>
                <a:ext uri="{FF2B5EF4-FFF2-40B4-BE49-F238E27FC236}">
                  <a16:creationId xmlns:a16="http://schemas.microsoft.com/office/drawing/2014/main" id="{8FBCE0B3-71B3-56D9-799B-89B5570362A2}"/>
                </a:ext>
              </a:extLst>
            </p:cNvPr>
            <p:cNvSpPr/>
            <p:nvPr/>
          </p:nvSpPr>
          <p:spPr>
            <a:xfrm>
              <a:off x="1477915" y="2805474"/>
              <a:ext cx="1644636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18" name="Tekstvak 3">
              <a:extLst>
                <a:ext uri="{FF2B5EF4-FFF2-40B4-BE49-F238E27FC236}">
                  <a16:creationId xmlns:a16="http://schemas.microsoft.com/office/drawing/2014/main" id="{30C7328E-DA79-F0AB-C7F1-EE4AEB625B02}"/>
                </a:ext>
              </a:extLst>
            </p:cNvPr>
            <p:cNvSpPr txBox="1"/>
            <p:nvPr/>
          </p:nvSpPr>
          <p:spPr>
            <a:xfrm>
              <a:off x="1549186" y="2869516"/>
              <a:ext cx="1525016" cy="5771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400" b="1">
                  <a:solidFill>
                    <a:schemeClr val="bg1"/>
                  </a:solidFill>
                </a:rPr>
                <a:t>In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9550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4" dur="3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5932E-5ECC-9EE4-0321-9EA4FFE316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6073ADE8-CDF2-3A37-79EA-27DA87CC2DF7}"/>
              </a:ext>
            </a:extLst>
          </p:cNvPr>
          <p:cNvSpPr/>
          <p:nvPr/>
        </p:nvSpPr>
        <p:spPr>
          <a:xfrm>
            <a:off x="7754721" y="1113848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hoek: afgeronde hoeken 61">
            <a:extLst>
              <a:ext uri="{FF2B5EF4-FFF2-40B4-BE49-F238E27FC236}">
                <a16:creationId xmlns:a16="http://schemas.microsoft.com/office/drawing/2014/main" id="{36350A47-2997-D938-8D59-C9CEAC3783D6}"/>
              </a:ext>
            </a:extLst>
          </p:cNvPr>
          <p:cNvSpPr/>
          <p:nvPr/>
        </p:nvSpPr>
        <p:spPr>
          <a:xfrm>
            <a:off x="7997527" y="886088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8ED0878-2627-4B9A-E7D3-7E01BEAB8ADC}"/>
              </a:ext>
            </a:extLst>
          </p:cNvPr>
          <p:cNvSpPr/>
          <p:nvPr/>
        </p:nvSpPr>
        <p:spPr>
          <a:xfrm>
            <a:off x="4282532" y="1125945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hoek: afgeronde hoeken 61">
            <a:extLst>
              <a:ext uri="{FF2B5EF4-FFF2-40B4-BE49-F238E27FC236}">
                <a16:creationId xmlns:a16="http://schemas.microsoft.com/office/drawing/2014/main" id="{8D0816DC-95B2-E0C0-1690-ACFD934BB120}"/>
              </a:ext>
            </a:extLst>
          </p:cNvPr>
          <p:cNvSpPr/>
          <p:nvPr/>
        </p:nvSpPr>
        <p:spPr>
          <a:xfrm>
            <a:off x="4525338" y="898185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A1BDF6-4972-D278-39A6-F3469D51B281}"/>
              </a:ext>
            </a:extLst>
          </p:cNvPr>
          <p:cNvSpPr txBox="1"/>
          <p:nvPr/>
        </p:nvSpPr>
        <p:spPr>
          <a:xfrm>
            <a:off x="750191" y="410876"/>
            <a:ext cx="10877179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Patch My PC Publisher - Features</a:t>
            </a:r>
            <a:endParaRPr lang="en-US" sz="2000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F271C4B4-DCFA-1395-D19F-C5B3E620F73D}"/>
              </a:ext>
            </a:extLst>
          </p:cNvPr>
          <p:cNvSpPr/>
          <p:nvPr/>
        </p:nvSpPr>
        <p:spPr>
          <a:xfrm>
            <a:off x="805888" y="1110060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hoek: afgeronde hoeken 61">
            <a:extLst>
              <a:ext uri="{FF2B5EF4-FFF2-40B4-BE49-F238E27FC236}">
                <a16:creationId xmlns:a16="http://schemas.microsoft.com/office/drawing/2014/main" id="{EAAA8EC2-89DF-EA89-54E3-B49C118A54AC}"/>
              </a:ext>
            </a:extLst>
          </p:cNvPr>
          <p:cNvSpPr/>
          <p:nvPr/>
        </p:nvSpPr>
        <p:spPr>
          <a:xfrm>
            <a:off x="1048694" y="8823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8453467-2EEE-FFDD-C7FE-EA3ADF08D69E}"/>
              </a:ext>
            </a:extLst>
          </p:cNvPr>
          <p:cNvSpPr txBox="1"/>
          <p:nvPr/>
        </p:nvSpPr>
        <p:spPr>
          <a:xfrm>
            <a:off x="1039162" y="2215234"/>
            <a:ext cx="269283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No need for manual application packaging—enjoy enhanced security with accelerated vulnerability patching</a:t>
            </a:r>
            <a:endParaRPr lang="en-GB" sz="1200">
              <a:solidFill>
                <a:schemeClr val="bg1"/>
              </a:solidFill>
              <a:cs typeface="Poppin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C2BBE-413B-86A1-73FB-3EC64359D235}"/>
              </a:ext>
            </a:extLst>
          </p:cNvPr>
          <p:cNvSpPr txBox="1"/>
          <p:nvPr/>
        </p:nvSpPr>
        <p:spPr>
          <a:xfrm>
            <a:off x="1039162" y="1324636"/>
            <a:ext cx="1818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FFFFFF"/>
                </a:solidFill>
              </a:rPr>
              <a:t>Automated Patching</a:t>
            </a:r>
            <a:endParaRPr lang="en-GB" sz="1600">
              <a:solidFill>
                <a:srgbClr val="FFFFFF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D2593A6-9DAB-2FBB-F510-C958DBCF55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1060" y="1416296"/>
            <a:ext cx="394625" cy="3946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FF9BE74-0B33-CF2F-CCE4-0CD7B3659B09}"/>
              </a:ext>
            </a:extLst>
          </p:cNvPr>
          <p:cNvSpPr txBox="1"/>
          <p:nvPr/>
        </p:nvSpPr>
        <p:spPr>
          <a:xfrm>
            <a:off x="4499957" y="1318177"/>
            <a:ext cx="3240214" cy="53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</a:rPr>
              <a:t>Extensive</a:t>
            </a:r>
          </a:p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</a:rPr>
              <a:t>Catalog</a:t>
            </a:r>
            <a:endParaRPr lang="en-US" sz="1600" i="0">
              <a:solidFill>
                <a:srgbClr val="FFFFFF"/>
              </a:solidFill>
              <a:effectLst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39E1676-B232-70AC-6E33-5727AC18C0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8524" y="1435525"/>
            <a:ext cx="421891" cy="42189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F042E2BA-4053-280B-9479-4DF4995CC205}"/>
              </a:ext>
            </a:extLst>
          </p:cNvPr>
          <p:cNvSpPr txBox="1"/>
          <p:nvPr/>
        </p:nvSpPr>
        <p:spPr>
          <a:xfrm>
            <a:off x="4499957" y="2215234"/>
            <a:ext cx="2626512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</a:rPr>
              <a:t>Access a robust catalog of thousands of applications, all consistently updated and managed by our team</a:t>
            </a:r>
            <a:endParaRPr lang="en-US">
              <a:cs typeface="Poppin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AB573B-6AC1-4091-A035-24F17754C728}"/>
              </a:ext>
            </a:extLst>
          </p:cNvPr>
          <p:cNvSpPr txBox="1"/>
          <p:nvPr/>
        </p:nvSpPr>
        <p:spPr>
          <a:xfrm>
            <a:off x="7996986" y="1495697"/>
            <a:ext cx="2262107" cy="317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</a:rPr>
              <a:t>Agentless</a:t>
            </a:r>
            <a:endParaRPr lang="en-US" sz="1600" i="0">
              <a:solidFill>
                <a:srgbClr val="FFFFFF"/>
              </a:solidFill>
              <a:effectLst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4B46CC4-F045-5A76-9CAA-A510B9B14CCE}"/>
              </a:ext>
            </a:extLst>
          </p:cNvPr>
          <p:cNvSpPr txBox="1"/>
          <p:nvPr/>
        </p:nvSpPr>
        <p:spPr>
          <a:xfrm>
            <a:off x="7996986" y="2215234"/>
            <a:ext cx="2854280" cy="116955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400" i="0">
                <a:solidFill>
                  <a:schemeClr val="bg1"/>
                </a:solidFill>
                <a:effectLst/>
              </a:rPr>
              <a:t>By integrating with Microsoft Intune and </a:t>
            </a:r>
            <a:r>
              <a:rPr lang="en-US" sz="1400" i="0" err="1">
                <a:solidFill>
                  <a:schemeClr val="bg1"/>
                </a:solidFill>
                <a:effectLst/>
              </a:rPr>
              <a:t>ConfigMgr</a:t>
            </a:r>
            <a:r>
              <a:rPr lang="en-US" sz="1400" i="0">
                <a:solidFill>
                  <a:schemeClr val="bg1"/>
                </a:solidFill>
                <a:effectLst/>
              </a:rPr>
              <a:t>, we operate how a security solution should—noninvasive and hassle-free</a:t>
            </a:r>
            <a:endParaRPr lang="en-US" sz="1400">
              <a:cs typeface="Poppin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708A386-B856-4913-6563-B2BF51D156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2156" y="1415300"/>
            <a:ext cx="430725" cy="430725"/>
          </a:xfrm>
          <a:prstGeom prst="rect">
            <a:avLst/>
          </a:prstGeom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C95B68E-706D-47E2-4E91-965FF37DA723}"/>
              </a:ext>
            </a:extLst>
          </p:cNvPr>
          <p:cNvSpPr/>
          <p:nvPr/>
        </p:nvSpPr>
        <p:spPr>
          <a:xfrm>
            <a:off x="7748933" y="3932283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hoek: afgeronde hoeken 61">
            <a:extLst>
              <a:ext uri="{FF2B5EF4-FFF2-40B4-BE49-F238E27FC236}">
                <a16:creationId xmlns:a16="http://schemas.microsoft.com/office/drawing/2014/main" id="{64DFB522-1139-C352-0866-C59DDDBF84A5}"/>
              </a:ext>
            </a:extLst>
          </p:cNvPr>
          <p:cNvSpPr/>
          <p:nvPr/>
        </p:nvSpPr>
        <p:spPr>
          <a:xfrm>
            <a:off x="7991739" y="371609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559EFBC-E21F-24ED-433D-B4EC0BD4EDF9}"/>
              </a:ext>
            </a:extLst>
          </p:cNvPr>
          <p:cNvSpPr/>
          <p:nvPr/>
        </p:nvSpPr>
        <p:spPr>
          <a:xfrm>
            <a:off x="4276744" y="3944380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hoek: afgeronde hoeken 61">
            <a:extLst>
              <a:ext uri="{FF2B5EF4-FFF2-40B4-BE49-F238E27FC236}">
                <a16:creationId xmlns:a16="http://schemas.microsoft.com/office/drawing/2014/main" id="{E7B079F4-7D6C-AF5E-2AD1-942660A436B9}"/>
              </a:ext>
            </a:extLst>
          </p:cNvPr>
          <p:cNvSpPr/>
          <p:nvPr/>
        </p:nvSpPr>
        <p:spPr>
          <a:xfrm>
            <a:off x="4519550" y="372819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17E54C5-8951-DF09-0FBA-6CF4E012842D}"/>
              </a:ext>
            </a:extLst>
          </p:cNvPr>
          <p:cNvSpPr/>
          <p:nvPr/>
        </p:nvSpPr>
        <p:spPr>
          <a:xfrm>
            <a:off x="800100" y="3928495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hoek: afgeronde hoeken 61">
            <a:extLst>
              <a:ext uri="{FF2B5EF4-FFF2-40B4-BE49-F238E27FC236}">
                <a16:creationId xmlns:a16="http://schemas.microsoft.com/office/drawing/2014/main" id="{669925ED-951B-5E68-E144-DAAC7372D145}"/>
              </a:ext>
            </a:extLst>
          </p:cNvPr>
          <p:cNvSpPr/>
          <p:nvPr/>
        </p:nvSpPr>
        <p:spPr>
          <a:xfrm>
            <a:off x="1042906" y="3712309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6592DA3-7374-B68A-BE5A-FE60F1A21370}"/>
              </a:ext>
            </a:extLst>
          </p:cNvPr>
          <p:cNvSpPr txBox="1"/>
          <p:nvPr/>
        </p:nvSpPr>
        <p:spPr>
          <a:xfrm>
            <a:off x="1033374" y="5033669"/>
            <a:ext cx="249111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Ask any customer: our support is fast, reliable and professional</a:t>
            </a:r>
            <a:endParaRPr lang="en-GB" sz="1400">
              <a:solidFill>
                <a:schemeClr val="bg1"/>
              </a:solidFill>
              <a:cs typeface="Poppi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8A0BE7-075F-C4DA-9EAB-CC330025839B}"/>
              </a:ext>
            </a:extLst>
          </p:cNvPr>
          <p:cNvSpPr txBox="1"/>
          <p:nvPr/>
        </p:nvSpPr>
        <p:spPr>
          <a:xfrm>
            <a:off x="1033374" y="4143071"/>
            <a:ext cx="1818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FFFFFF"/>
                </a:solidFill>
              </a:rPr>
              <a:t>First Class Support</a:t>
            </a:r>
            <a:endParaRPr lang="en-GB" sz="1600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B7B2D8D-46E4-167E-E2E9-810629773E7F}"/>
              </a:ext>
            </a:extLst>
          </p:cNvPr>
          <p:cNvSpPr txBox="1"/>
          <p:nvPr/>
        </p:nvSpPr>
        <p:spPr>
          <a:xfrm>
            <a:off x="4494169" y="4136612"/>
            <a:ext cx="1823460" cy="53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</a:rPr>
              <a:t>Bring Your Own Applications</a:t>
            </a:r>
            <a:endParaRPr lang="en-US" sz="1600" i="0">
              <a:solidFill>
                <a:srgbClr val="FFFFFF"/>
              </a:solidFill>
              <a:effectLst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591ED4-5F85-2C58-B130-0F7B89D65010}"/>
              </a:ext>
            </a:extLst>
          </p:cNvPr>
          <p:cNvSpPr txBox="1"/>
          <p:nvPr/>
        </p:nvSpPr>
        <p:spPr>
          <a:xfrm>
            <a:off x="4494169" y="5033669"/>
            <a:ext cx="2626512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400" i="0">
                <a:solidFill>
                  <a:schemeClr val="bg1"/>
                </a:solidFill>
                <a:effectLst/>
              </a:rPr>
              <a:t>Need more applications? Add your business application to your private catalog</a:t>
            </a:r>
            <a:endParaRPr lang="en-US" sz="1400">
              <a:cs typeface="Poppin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6F00EC-B046-9428-40F1-189C5F43773F}"/>
              </a:ext>
            </a:extLst>
          </p:cNvPr>
          <p:cNvSpPr txBox="1"/>
          <p:nvPr/>
        </p:nvSpPr>
        <p:spPr>
          <a:xfrm>
            <a:off x="7991198" y="4143071"/>
            <a:ext cx="2262107" cy="53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pplication Discovery 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3AE84C4-B502-4870-06E2-C32CEDA52548}"/>
              </a:ext>
            </a:extLst>
          </p:cNvPr>
          <p:cNvSpPr txBox="1"/>
          <p:nvPr/>
        </p:nvSpPr>
        <p:spPr>
          <a:xfrm>
            <a:off x="7991198" y="5033669"/>
            <a:ext cx="2182949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400" i="0">
                <a:solidFill>
                  <a:schemeClr val="bg1"/>
                </a:solidFill>
                <a:effectLst/>
              </a:rPr>
              <a:t>We detect which applications are already running in your environment</a:t>
            </a:r>
            <a:endParaRPr lang="en-US" sz="1400">
              <a:cs typeface="Poppins"/>
            </a:endParaRP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2DE4314F-30C9-1D44-1D3E-EE03E69BFA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01450" y="4325036"/>
            <a:ext cx="435487" cy="377422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577A4400-14DA-5FF7-548C-8694BF2C1D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893395" y="4279060"/>
            <a:ext cx="412138" cy="412138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5398694-8240-30B7-F91C-251E68D9D7F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18436" y="4286855"/>
            <a:ext cx="434445" cy="43444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5545C31-AFA4-A29E-7B8D-4B2626B244D6}"/>
              </a:ext>
            </a:extLst>
          </p:cNvPr>
          <p:cNvCxnSpPr>
            <a:cxnSpLocks/>
          </p:cNvCxnSpPr>
          <p:nvPr/>
        </p:nvCxnSpPr>
        <p:spPr>
          <a:xfrm>
            <a:off x="1121801" y="4897078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EDB8D99-FF10-B39F-EDB3-960362C26289}"/>
              </a:ext>
            </a:extLst>
          </p:cNvPr>
          <p:cNvCxnSpPr>
            <a:cxnSpLocks/>
          </p:cNvCxnSpPr>
          <p:nvPr/>
        </p:nvCxnSpPr>
        <p:spPr>
          <a:xfrm>
            <a:off x="1121801" y="2051241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A05BFA-5D75-5A06-1AA5-F22DB8C2E5B9}"/>
              </a:ext>
            </a:extLst>
          </p:cNvPr>
          <p:cNvCxnSpPr>
            <a:cxnSpLocks/>
          </p:cNvCxnSpPr>
          <p:nvPr/>
        </p:nvCxnSpPr>
        <p:spPr>
          <a:xfrm>
            <a:off x="4613005" y="2051241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2AAA5B1-0B1C-F8CB-FB83-76E198422E55}"/>
              </a:ext>
            </a:extLst>
          </p:cNvPr>
          <p:cNvCxnSpPr>
            <a:cxnSpLocks/>
          </p:cNvCxnSpPr>
          <p:nvPr/>
        </p:nvCxnSpPr>
        <p:spPr>
          <a:xfrm>
            <a:off x="8096433" y="20123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CD06F73-276F-6356-FD63-DE1CD850D394}"/>
              </a:ext>
            </a:extLst>
          </p:cNvPr>
          <p:cNvCxnSpPr>
            <a:cxnSpLocks/>
          </p:cNvCxnSpPr>
          <p:nvPr/>
        </p:nvCxnSpPr>
        <p:spPr>
          <a:xfrm>
            <a:off x="4597453" y="4858200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420FD0-0E4D-94FF-24FD-B7E6C82A2FF3}"/>
              </a:ext>
            </a:extLst>
          </p:cNvPr>
          <p:cNvCxnSpPr>
            <a:cxnSpLocks/>
          </p:cNvCxnSpPr>
          <p:nvPr/>
        </p:nvCxnSpPr>
        <p:spPr>
          <a:xfrm>
            <a:off x="8096433" y="4858200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3140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FBBEB3-63F5-0CD6-2354-236F51646C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1D40FB45-078D-61A9-B047-7185F012BBCC}"/>
              </a:ext>
            </a:extLst>
          </p:cNvPr>
          <p:cNvSpPr/>
          <p:nvPr/>
        </p:nvSpPr>
        <p:spPr>
          <a:xfrm>
            <a:off x="7771913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hoek: afgeronde hoeken 61">
            <a:extLst>
              <a:ext uri="{FF2B5EF4-FFF2-40B4-BE49-F238E27FC236}">
                <a16:creationId xmlns:a16="http://schemas.microsoft.com/office/drawing/2014/main" id="{927E6E82-3980-5287-59F4-87AF4F60E637}"/>
              </a:ext>
            </a:extLst>
          </p:cNvPr>
          <p:cNvSpPr/>
          <p:nvPr/>
        </p:nvSpPr>
        <p:spPr>
          <a:xfrm>
            <a:off x="7997333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1FEB37C6-6DD6-7688-2EC7-FEAB4B21CEB4}"/>
              </a:ext>
            </a:extLst>
          </p:cNvPr>
          <p:cNvSpPr/>
          <p:nvPr/>
        </p:nvSpPr>
        <p:spPr>
          <a:xfrm>
            <a:off x="4299918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hoek: afgeronde hoeken 61">
            <a:extLst>
              <a:ext uri="{FF2B5EF4-FFF2-40B4-BE49-F238E27FC236}">
                <a16:creationId xmlns:a16="http://schemas.microsoft.com/office/drawing/2014/main" id="{FCF3F6A0-AD8F-131A-6D2B-148CB152C1A3}"/>
              </a:ext>
            </a:extLst>
          </p:cNvPr>
          <p:cNvSpPr/>
          <p:nvPr/>
        </p:nvSpPr>
        <p:spPr>
          <a:xfrm>
            <a:off x="4525338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15B6230-E3F2-A704-420B-D3B0DAC838E9}"/>
              </a:ext>
            </a:extLst>
          </p:cNvPr>
          <p:cNvSpPr txBox="1"/>
          <p:nvPr/>
        </p:nvSpPr>
        <p:spPr>
          <a:xfrm>
            <a:off x="4499957" y="1892362"/>
            <a:ext cx="2680332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onfigure scope tags for applications to limit what administrators can see applications created by Patch My PC in Intun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FBEC7E-B8F1-5CC5-F75D-EFF1C920979A}"/>
              </a:ext>
            </a:extLst>
          </p:cNvPr>
          <p:cNvSpPr txBox="1"/>
          <p:nvPr/>
        </p:nvSpPr>
        <p:spPr>
          <a:xfrm>
            <a:off x="4487668" y="825908"/>
            <a:ext cx="2136365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Add Scope Tags  </a:t>
            </a:r>
            <a:b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</a:b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to Applications </a:t>
            </a:r>
            <a:b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</a:b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in Intune  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97886EB-8094-AA2E-2833-5FF855AAF9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8530" y="773186"/>
            <a:ext cx="459202" cy="4592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AD84C3E-A6D0-8AB9-96CC-C5D4B979E565}"/>
              </a:ext>
            </a:extLst>
          </p:cNvPr>
          <p:cNvSpPr txBox="1"/>
          <p:nvPr/>
        </p:nvSpPr>
        <p:spPr>
          <a:xfrm>
            <a:off x="7997333" y="1901301"/>
            <a:ext cx="273223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 save installation logs for EXE and MSI-based product installers to a (Local folder or UNC folder)</a:t>
            </a:r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92DC26B-A3DF-6ABC-2326-643E720E02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0507" y="809154"/>
            <a:ext cx="395760" cy="39576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C99245E-CE86-C83E-3FE1-676B9484C41A}"/>
              </a:ext>
            </a:extLst>
          </p:cNvPr>
          <p:cNvSpPr txBox="1"/>
          <p:nvPr/>
        </p:nvSpPr>
        <p:spPr>
          <a:xfrm>
            <a:off x="7993305" y="752216"/>
            <a:ext cx="2210791" cy="753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Save Application   Install Logs to a    Central Location</a:t>
            </a:r>
            <a:endParaRPr lang="en-US" sz="1600" i="0">
              <a:solidFill>
                <a:srgbClr val="FFFFFF"/>
              </a:solidFill>
              <a:effectLst/>
              <a:latin typeface="Poppins" panose="00000500000000000000" pitchFamily="2" charset="0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E07C17AE-07DA-F0FA-11C6-2B8D25687936}"/>
              </a:ext>
            </a:extLst>
          </p:cNvPr>
          <p:cNvSpPr/>
          <p:nvPr/>
        </p:nvSpPr>
        <p:spPr>
          <a:xfrm>
            <a:off x="7766917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hoek: afgeronde hoeken 61">
            <a:extLst>
              <a:ext uri="{FF2B5EF4-FFF2-40B4-BE49-F238E27FC236}">
                <a16:creationId xmlns:a16="http://schemas.microsoft.com/office/drawing/2014/main" id="{5B4701AB-6DB7-0087-A798-95BF5A9E42F7}"/>
              </a:ext>
            </a:extLst>
          </p:cNvPr>
          <p:cNvSpPr/>
          <p:nvPr/>
        </p:nvSpPr>
        <p:spPr>
          <a:xfrm>
            <a:off x="7992337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F9CABC5-14CA-893C-8EC2-983785016F2F}"/>
              </a:ext>
            </a:extLst>
          </p:cNvPr>
          <p:cNvSpPr/>
          <p:nvPr/>
        </p:nvSpPr>
        <p:spPr>
          <a:xfrm>
            <a:off x="4294922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hoek: afgeronde hoeken 61">
            <a:extLst>
              <a:ext uri="{FF2B5EF4-FFF2-40B4-BE49-F238E27FC236}">
                <a16:creationId xmlns:a16="http://schemas.microsoft.com/office/drawing/2014/main" id="{594CFC97-1FD7-BF36-40B4-7A78D7376C29}"/>
              </a:ext>
            </a:extLst>
          </p:cNvPr>
          <p:cNvSpPr/>
          <p:nvPr/>
        </p:nvSpPr>
        <p:spPr>
          <a:xfrm>
            <a:off x="4520342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535024A-C528-C6F5-BFB7-7F1245B111B7}"/>
              </a:ext>
            </a:extLst>
          </p:cNvPr>
          <p:cNvSpPr txBox="1"/>
          <p:nvPr/>
        </p:nvSpPr>
        <p:spPr>
          <a:xfrm>
            <a:off x="4494960" y="4905385"/>
            <a:ext cx="289519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 spc="-3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You can add MST Transform files for MSI-based application installers to ensure you can customize the application install when needed</a:t>
            </a:r>
            <a:endParaRPr lang="en-US" sz="1200" i="0">
              <a:solidFill>
                <a:schemeClr val="bg1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75EDF0-BAF7-02DD-C248-083FE553D45A}"/>
              </a:ext>
            </a:extLst>
          </p:cNvPr>
          <p:cNvSpPr txBox="1"/>
          <p:nvPr/>
        </p:nvSpPr>
        <p:spPr>
          <a:xfrm>
            <a:off x="4482672" y="3838931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dd MST Transform Files to Applications 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64C7BBC-E85F-15CC-491E-C4D7382B4EC2}"/>
              </a:ext>
            </a:extLst>
          </p:cNvPr>
          <p:cNvSpPr txBox="1"/>
          <p:nvPr/>
        </p:nvSpPr>
        <p:spPr>
          <a:xfrm>
            <a:off x="7992337" y="4914324"/>
            <a:ext cx="259071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s support for </a:t>
            </a:r>
            <a:r>
              <a:rPr lang="en-US" sz="1200">
                <a:solidFill>
                  <a:schemeClr val="bg1"/>
                </a:solidFill>
                <a:latin typeface="Poppins" panose="00000500000000000000" pitchFamily="2" charset="0"/>
              </a:rPr>
              <a:t>Entra ID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</a:t>
            </a:r>
            <a:r>
              <a:rPr lang="en-US" sz="1200" i="0" u="none" strike="noStrike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filters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 to applications and update assignments in Microsoft Intune</a:t>
            </a: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70D536D-0F7B-CAE4-8BB1-1A3E20822DB9}"/>
              </a:ext>
            </a:extLst>
          </p:cNvPr>
          <p:cNvSpPr txBox="1"/>
          <p:nvPr/>
        </p:nvSpPr>
        <p:spPr>
          <a:xfrm>
            <a:off x="7988309" y="3765239"/>
            <a:ext cx="2319927" cy="749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Use Intune Filters  for Assigning Applications  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E75FB370-7EE4-F0FE-C3F4-8DD3EFA5A8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84281" y="3824719"/>
            <a:ext cx="427047" cy="427047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B1F19091-3B17-DC64-8A77-E53C79F037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71418" y="3779925"/>
            <a:ext cx="398971" cy="398971"/>
          </a:xfrm>
          <a:prstGeom prst="rect">
            <a:avLst/>
          </a:prstGeom>
        </p:spPr>
      </p:pic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CFEE3D82-1A9B-C762-3415-39D8F44A0984}"/>
              </a:ext>
            </a:extLst>
          </p:cNvPr>
          <p:cNvSpPr/>
          <p:nvPr/>
        </p:nvSpPr>
        <p:spPr>
          <a:xfrm>
            <a:off x="806511" y="504666"/>
            <a:ext cx="3166957" cy="5880986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hoek: afgeronde hoeken 61">
            <a:extLst>
              <a:ext uri="{FF2B5EF4-FFF2-40B4-BE49-F238E27FC236}">
                <a16:creationId xmlns:a16="http://schemas.microsoft.com/office/drawing/2014/main" id="{A707BFCA-AF11-9A56-5D5B-4BB9C00F786C}"/>
              </a:ext>
            </a:extLst>
          </p:cNvPr>
          <p:cNvSpPr/>
          <p:nvPr/>
        </p:nvSpPr>
        <p:spPr>
          <a:xfrm>
            <a:off x="1031931" y="673076"/>
            <a:ext cx="3042567" cy="5803861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09BB6AD-E7A0-0C45-6086-5CAD16EEE359}"/>
              </a:ext>
            </a:extLst>
          </p:cNvPr>
          <p:cNvSpPr txBox="1"/>
          <p:nvPr/>
        </p:nvSpPr>
        <p:spPr>
          <a:xfrm>
            <a:off x="1072561" y="1892362"/>
            <a:ext cx="2670785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With our manage conflicting process feature, you can interactively notify the user to close the application with custom branding and options such as snoozing the notification</a:t>
            </a:r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8A72528-C25F-06EE-10A0-356AB4D376B8}"/>
              </a:ext>
            </a:extLst>
          </p:cNvPr>
          <p:cNvSpPr txBox="1"/>
          <p:nvPr/>
        </p:nvSpPr>
        <p:spPr>
          <a:xfrm>
            <a:off x="1060273" y="825908"/>
            <a:ext cx="2136365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Notify Users </a:t>
            </a:r>
            <a:b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</a:b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When Installing Applications  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6DDE93C4-5687-6DE9-A090-4A51260181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34331" y="801640"/>
            <a:ext cx="409016" cy="409016"/>
          </a:xfrm>
          <a:prstGeom prst="rect">
            <a:avLst/>
          </a:prstGeom>
        </p:spPr>
      </p:pic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2463CA1D-BDA8-7C9A-5754-952E1FB39F8B}"/>
              </a:ext>
            </a:extLst>
          </p:cNvPr>
          <p:cNvSpPr/>
          <p:nvPr/>
        </p:nvSpPr>
        <p:spPr>
          <a:xfrm>
            <a:off x="1151690" y="3824719"/>
            <a:ext cx="2482734" cy="2160255"/>
          </a:xfrm>
          <a:prstGeom prst="roundRect">
            <a:avLst>
              <a:gd name="adj" fmla="val 5190"/>
            </a:avLst>
          </a:prstGeom>
          <a:solidFill>
            <a:srgbClr val="292827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Picture 2">
            <a:extLst>
              <a:ext uri="{FF2B5EF4-FFF2-40B4-BE49-F238E27FC236}">
                <a16:creationId xmlns:a16="http://schemas.microsoft.com/office/drawing/2014/main" id="{EDD52F4E-97C9-71AB-786A-C8062260AD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43"/>
          <a:stretch/>
        </p:blipFill>
        <p:spPr bwMode="auto">
          <a:xfrm>
            <a:off x="1543107" y="3969283"/>
            <a:ext cx="1708655" cy="187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AEDF0C9-6089-A2BD-0126-FBC0ED578F72}"/>
              </a:ext>
            </a:extLst>
          </p:cNvPr>
          <p:cNvCxnSpPr>
            <a:cxnSpLocks/>
          </p:cNvCxnSpPr>
          <p:nvPr/>
        </p:nvCxnSpPr>
        <p:spPr>
          <a:xfrm>
            <a:off x="1154931" y="1746441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6D8917D-2920-4C7A-505F-EA1A27266273}"/>
              </a:ext>
            </a:extLst>
          </p:cNvPr>
          <p:cNvCxnSpPr>
            <a:cxnSpLocks/>
          </p:cNvCxnSpPr>
          <p:nvPr/>
        </p:nvCxnSpPr>
        <p:spPr>
          <a:xfrm>
            <a:off x="4525093" y="1708769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85B61B-8591-172F-B407-CE5C0F6E0B14}"/>
              </a:ext>
            </a:extLst>
          </p:cNvPr>
          <p:cNvCxnSpPr>
            <a:cxnSpLocks/>
          </p:cNvCxnSpPr>
          <p:nvPr/>
        </p:nvCxnSpPr>
        <p:spPr>
          <a:xfrm>
            <a:off x="8083486" y="1675885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47155A-7628-078F-2A38-83D04CFF771F}"/>
              </a:ext>
            </a:extLst>
          </p:cNvPr>
          <p:cNvCxnSpPr>
            <a:cxnSpLocks/>
          </p:cNvCxnSpPr>
          <p:nvPr/>
        </p:nvCxnSpPr>
        <p:spPr>
          <a:xfrm>
            <a:off x="4583931" y="4759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755223-C464-1A7B-E22A-F89065DDC62A}"/>
              </a:ext>
            </a:extLst>
          </p:cNvPr>
          <p:cNvCxnSpPr>
            <a:cxnSpLocks/>
          </p:cNvCxnSpPr>
          <p:nvPr/>
        </p:nvCxnSpPr>
        <p:spPr>
          <a:xfrm>
            <a:off x="8083487" y="4723885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6423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9059A-3A71-01C6-DEF9-5FE6523C7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2C65D8BE-FB6C-0468-FE34-6EC5F0B01E84}"/>
              </a:ext>
            </a:extLst>
          </p:cNvPr>
          <p:cNvSpPr/>
          <p:nvPr/>
        </p:nvSpPr>
        <p:spPr>
          <a:xfrm>
            <a:off x="828270" y="3711465"/>
            <a:ext cx="3166957" cy="263825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hoek: afgeronde hoeken 61">
            <a:extLst>
              <a:ext uri="{FF2B5EF4-FFF2-40B4-BE49-F238E27FC236}">
                <a16:creationId xmlns:a16="http://schemas.microsoft.com/office/drawing/2014/main" id="{A472ED16-983B-ED00-A223-E717CB5DD741}"/>
              </a:ext>
            </a:extLst>
          </p:cNvPr>
          <p:cNvSpPr/>
          <p:nvPr/>
        </p:nvSpPr>
        <p:spPr>
          <a:xfrm>
            <a:off x="1053690" y="369020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951468B-8EA7-CF24-14DF-C4FD46FF9CAE}"/>
              </a:ext>
            </a:extLst>
          </p:cNvPr>
          <p:cNvSpPr/>
          <p:nvPr/>
        </p:nvSpPr>
        <p:spPr>
          <a:xfrm>
            <a:off x="4307176" y="3711465"/>
            <a:ext cx="6631888" cy="2638251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91E59F-C140-E240-8362-0BF5C168CCC9}"/>
              </a:ext>
            </a:extLst>
          </p:cNvPr>
          <p:cNvSpPr txBox="1"/>
          <p:nvPr/>
        </p:nvSpPr>
        <p:spPr>
          <a:xfrm>
            <a:off x="4499957" y="5067311"/>
            <a:ext cx="2837646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</a:rPr>
              <a:t>Set applications as featured that you want to display first in Software Center or Company Portal</a:t>
            </a:r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A103069-323D-CA65-FF57-E32595A1B2AB}"/>
              </a:ext>
            </a:extLst>
          </p:cNvPr>
          <p:cNvSpPr txBox="1"/>
          <p:nvPr/>
        </p:nvSpPr>
        <p:spPr>
          <a:xfrm>
            <a:off x="4487669" y="3952935"/>
            <a:ext cx="2735900" cy="753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Set Applications as Featured in </a:t>
            </a:r>
            <a:r>
              <a:rPr lang="en-US" sz="1600" b="1" i="0" err="1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ConfigMgr</a:t>
            </a: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 and Intune</a:t>
            </a:r>
          </a:p>
        </p:txBody>
      </p:sp>
      <p:sp>
        <p:nvSpPr>
          <p:cNvPr id="16" name="Rechthoek: afgeronde hoeken 61">
            <a:extLst>
              <a:ext uri="{FF2B5EF4-FFF2-40B4-BE49-F238E27FC236}">
                <a16:creationId xmlns:a16="http://schemas.microsoft.com/office/drawing/2014/main" id="{81DF22B5-F899-8EF2-6EA4-1E947CF77E65}"/>
              </a:ext>
            </a:extLst>
          </p:cNvPr>
          <p:cNvSpPr/>
          <p:nvPr/>
        </p:nvSpPr>
        <p:spPr>
          <a:xfrm>
            <a:off x="7623120" y="3686265"/>
            <a:ext cx="3438745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FB01828-61C4-7550-9DCE-C850A980F0BB}"/>
              </a:ext>
            </a:extLst>
          </p:cNvPr>
          <p:cNvSpPr/>
          <p:nvPr/>
        </p:nvSpPr>
        <p:spPr>
          <a:xfrm>
            <a:off x="7673625" y="4071839"/>
            <a:ext cx="2939411" cy="1960977"/>
          </a:xfrm>
          <a:prstGeom prst="roundRect">
            <a:avLst>
              <a:gd name="adj" fmla="val 5190"/>
            </a:avLst>
          </a:prstGeom>
          <a:solidFill>
            <a:srgbClr val="1C221F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B9E7971-9309-D300-79AA-4AA8B8C53F3A}"/>
              </a:ext>
            </a:extLst>
          </p:cNvPr>
          <p:cNvSpPr txBox="1"/>
          <p:nvPr/>
        </p:nvSpPr>
        <p:spPr>
          <a:xfrm>
            <a:off x="1039162" y="5067311"/>
            <a:ext cx="2431468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b="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 turn off the self-update feature for products</a:t>
            </a:r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7DD8010-95CE-1F87-D072-2ECD0921A048}"/>
              </a:ext>
            </a:extLst>
          </p:cNvPr>
          <p:cNvSpPr txBox="1"/>
          <p:nvPr/>
        </p:nvSpPr>
        <p:spPr>
          <a:xfrm>
            <a:off x="1039162" y="3952935"/>
            <a:ext cx="2130218" cy="749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Disable Self-Update Feature  for Applications  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B4B33E4-8085-7467-6126-C18FF551DC70}"/>
              </a:ext>
            </a:extLst>
          </p:cNvPr>
          <p:cNvSpPr/>
          <p:nvPr/>
        </p:nvSpPr>
        <p:spPr>
          <a:xfrm>
            <a:off x="7771913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hoek: afgeronde hoeken 61">
            <a:extLst>
              <a:ext uri="{FF2B5EF4-FFF2-40B4-BE49-F238E27FC236}">
                <a16:creationId xmlns:a16="http://schemas.microsoft.com/office/drawing/2014/main" id="{8166C6C6-9EF3-55AC-4B87-0469F38F9A7F}"/>
              </a:ext>
            </a:extLst>
          </p:cNvPr>
          <p:cNvSpPr/>
          <p:nvPr/>
        </p:nvSpPr>
        <p:spPr>
          <a:xfrm>
            <a:off x="7997333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D580776-C50B-70BC-8D76-23A7F9344237}"/>
              </a:ext>
            </a:extLst>
          </p:cNvPr>
          <p:cNvSpPr/>
          <p:nvPr/>
        </p:nvSpPr>
        <p:spPr>
          <a:xfrm>
            <a:off x="4299918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hoek: afgeronde hoeken 61">
            <a:extLst>
              <a:ext uri="{FF2B5EF4-FFF2-40B4-BE49-F238E27FC236}">
                <a16:creationId xmlns:a16="http://schemas.microsoft.com/office/drawing/2014/main" id="{3F231C30-D42B-776C-CAAD-CA980DBF32D2}"/>
              </a:ext>
            </a:extLst>
          </p:cNvPr>
          <p:cNvSpPr/>
          <p:nvPr/>
        </p:nvSpPr>
        <p:spPr>
          <a:xfrm>
            <a:off x="4525338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47FF9E-A779-F5B5-ED02-B316980E040B}"/>
              </a:ext>
            </a:extLst>
          </p:cNvPr>
          <p:cNvSpPr txBox="1"/>
          <p:nvPr/>
        </p:nvSpPr>
        <p:spPr>
          <a:xfrm>
            <a:off x="4499956" y="1897932"/>
            <a:ext cx="2900187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 categories to your applications in both </a:t>
            </a:r>
            <a:r>
              <a:rPr lang="en-US" sz="1200" i="0" spc="-30" err="1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onfigMgr</a:t>
            </a:r>
            <a:r>
              <a:rPr lang="en-US" sz="1200" i="0" spc="-3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 and Intune to allow </a:t>
            </a: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end-users to easily sort in Software Center or Company Portal for applications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873238-B8C3-F712-E012-FD186DBEF31F}"/>
              </a:ext>
            </a:extLst>
          </p:cNvPr>
          <p:cNvSpPr txBox="1"/>
          <p:nvPr/>
        </p:nvSpPr>
        <p:spPr>
          <a:xfrm>
            <a:off x="4487668" y="825908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dd Categories to Applications for Easy Sort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30383F-146A-154C-46F1-590EE3665A04}"/>
              </a:ext>
            </a:extLst>
          </p:cNvPr>
          <p:cNvSpPr txBox="1"/>
          <p:nvPr/>
        </p:nvSpPr>
        <p:spPr>
          <a:xfrm>
            <a:off x="7997333" y="1906871"/>
            <a:ext cx="2732231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utomatically add apps to Enrollment Status Pages in Microsoft Intune so they can automatically install during Windows Autopilot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E1C651-123D-F82F-F432-FFAF91F32843}"/>
              </a:ext>
            </a:extLst>
          </p:cNvPr>
          <p:cNvSpPr txBox="1"/>
          <p:nvPr/>
        </p:nvSpPr>
        <p:spPr>
          <a:xfrm>
            <a:off x="7993305" y="752216"/>
            <a:ext cx="2210791" cy="753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dd Applications to ESPs for </a:t>
            </a:r>
            <a:r>
              <a:rPr lang="en-US" sz="1600" b="1" i="0" spc="-3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utopilot in Intun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3063EB7-9DB1-DBBE-1CBD-7FCEAE7536EB}"/>
              </a:ext>
            </a:extLst>
          </p:cNvPr>
          <p:cNvSpPr/>
          <p:nvPr/>
        </p:nvSpPr>
        <p:spPr>
          <a:xfrm>
            <a:off x="806511" y="490230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hoek: afgeronde hoeken 61">
            <a:extLst>
              <a:ext uri="{FF2B5EF4-FFF2-40B4-BE49-F238E27FC236}">
                <a16:creationId xmlns:a16="http://schemas.microsoft.com/office/drawing/2014/main" id="{517ABF39-C996-C586-A56A-CB67FDC75BFF}"/>
              </a:ext>
            </a:extLst>
          </p:cNvPr>
          <p:cNvSpPr/>
          <p:nvPr/>
        </p:nvSpPr>
        <p:spPr>
          <a:xfrm>
            <a:off x="1031931" y="658641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022FDE-A4E4-27EF-4D99-FFE9182CFB4D}"/>
              </a:ext>
            </a:extLst>
          </p:cNvPr>
          <p:cNvSpPr txBox="1"/>
          <p:nvPr/>
        </p:nvSpPr>
        <p:spPr>
          <a:xfrm>
            <a:off x="1006550" y="1883496"/>
            <a:ext cx="2680332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Adds the ability to delay the processing of new updates. This feature can help delay specific products from updating due to business requirements</a:t>
            </a:r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BC9441-FF53-E507-7128-32D824D1BB22}"/>
              </a:ext>
            </a:extLst>
          </p:cNvPr>
          <p:cNvSpPr txBox="1"/>
          <p:nvPr/>
        </p:nvSpPr>
        <p:spPr>
          <a:xfrm>
            <a:off x="994261" y="811472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Pause Application Creation for Specific Products  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4792D7D1-BE3B-381E-D9C7-F6F47CF1E0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4665" y="811472"/>
            <a:ext cx="395528" cy="39552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28965E40-A996-30F8-8ADF-F70C5BDB3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28041" y="825184"/>
            <a:ext cx="395528" cy="39552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C448ACC-7FBA-B49F-FC85-A2D8653D5F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34036" y="825184"/>
            <a:ext cx="395528" cy="39552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3FD91E94-DB70-98D4-F6C2-13E4F3244D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76983" y="3994263"/>
            <a:ext cx="513210" cy="27371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58DB0C7-3D7E-342D-67C4-4D24B3EA333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17842" y="4071839"/>
            <a:ext cx="2616254" cy="196097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383818-C177-C261-D98A-E0A8EE1DBC6F}"/>
              </a:ext>
            </a:extLst>
          </p:cNvPr>
          <p:cNvCxnSpPr>
            <a:cxnSpLocks/>
          </p:cNvCxnSpPr>
          <p:nvPr/>
        </p:nvCxnSpPr>
        <p:spPr>
          <a:xfrm>
            <a:off x="1112598" y="1711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0252E4-CA99-002B-6B4D-DD420B0EEC84}"/>
              </a:ext>
            </a:extLst>
          </p:cNvPr>
          <p:cNvCxnSpPr>
            <a:cxnSpLocks/>
          </p:cNvCxnSpPr>
          <p:nvPr/>
        </p:nvCxnSpPr>
        <p:spPr>
          <a:xfrm>
            <a:off x="4590987" y="1711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5DA2D6C-7068-8E6F-5C2B-8808E08C2AC4}"/>
              </a:ext>
            </a:extLst>
          </p:cNvPr>
          <p:cNvCxnSpPr>
            <a:cxnSpLocks/>
          </p:cNvCxnSpPr>
          <p:nvPr/>
        </p:nvCxnSpPr>
        <p:spPr>
          <a:xfrm>
            <a:off x="8083487" y="1711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B862D7A-621E-3F71-709F-09037B370923}"/>
              </a:ext>
            </a:extLst>
          </p:cNvPr>
          <p:cNvCxnSpPr>
            <a:cxnSpLocks/>
          </p:cNvCxnSpPr>
          <p:nvPr/>
        </p:nvCxnSpPr>
        <p:spPr>
          <a:xfrm>
            <a:off x="1112598" y="4886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B5B6DCA-F5DC-DF78-D747-5940DFF14C10}"/>
              </a:ext>
            </a:extLst>
          </p:cNvPr>
          <p:cNvCxnSpPr>
            <a:cxnSpLocks/>
          </p:cNvCxnSpPr>
          <p:nvPr/>
        </p:nvCxnSpPr>
        <p:spPr>
          <a:xfrm>
            <a:off x="4590987" y="4886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931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!!BG_blauw2">
            <a:extLst>
              <a:ext uri="{FF2B5EF4-FFF2-40B4-BE49-F238E27FC236}">
                <a16:creationId xmlns:a16="http://schemas.microsoft.com/office/drawing/2014/main" id="{481A7B4C-8460-34B0-B68D-95AB630CABFF}"/>
              </a:ext>
            </a:extLst>
          </p:cNvPr>
          <p:cNvGrpSpPr/>
          <p:nvPr/>
        </p:nvGrpSpPr>
        <p:grpSpPr>
          <a:xfrm>
            <a:off x="0" y="-55"/>
            <a:ext cx="12208711" cy="6858055"/>
            <a:chOff x="-16711" y="-55"/>
            <a:chExt cx="12208711" cy="6858055"/>
          </a:xfrm>
        </p:grpSpPr>
        <p:sp>
          <p:nvSpPr>
            <p:cNvPr id="88" name="Rechthoek 9">
              <a:extLst>
                <a:ext uri="{FF2B5EF4-FFF2-40B4-BE49-F238E27FC236}">
                  <a16:creationId xmlns:a16="http://schemas.microsoft.com/office/drawing/2014/main" id="{28604CAA-1459-2001-9974-411639B27BC7}"/>
                </a:ext>
              </a:extLst>
            </p:cNvPr>
            <p:cNvSpPr/>
            <p:nvPr/>
          </p:nvSpPr>
          <p:spPr>
            <a:xfrm>
              <a:off x="-16711" y="0"/>
              <a:ext cx="12208711" cy="6858000"/>
            </a:xfrm>
            <a:prstGeom prst="rect">
              <a:avLst/>
            </a:prstGeom>
            <a:solidFill>
              <a:srgbClr val="1515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89" name="Rechthoek 10">
              <a:extLst>
                <a:ext uri="{FF2B5EF4-FFF2-40B4-BE49-F238E27FC236}">
                  <a16:creationId xmlns:a16="http://schemas.microsoft.com/office/drawing/2014/main" id="{66D8A159-8A3D-21C2-BB4B-9812810F4F2F}"/>
                </a:ext>
              </a:extLst>
            </p:cNvPr>
            <p:cNvSpPr/>
            <p:nvPr/>
          </p:nvSpPr>
          <p:spPr>
            <a:xfrm rot="10800000">
              <a:off x="-1" y="-55"/>
              <a:ext cx="12191999" cy="6858000"/>
            </a:xfrm>
            <a:prstGeom prst="rect">
              <a:avLst/>
            </a:prstGeom>
            <a:gradFill flip="none" rotWithShape="1">
              <a:gsLst>
                <a:gs pos="0">
                  <a:srgbClr val="006094">
                    <a:alpha val="72000"/>
                  </a:srgbClr>
                </a:gs>
                <a:gs pos="52000">
                  <a:srgbClr val="15152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584858D2-2651-5CB1-78DD-2C7E56D3DD70}"/>
              </a:ext>
            </a:extLst>
          </p:cNvPr>
          <p:cNvSpPr/>
          <p:nvPr/>
        </p:nvSpPr>
        <p:spPr>
          <a:xfrm>
            <a:off x="226576" y="211015"/>
            <a:ext cx="11789643" cy="6428936"/>
          </a:xfrm>
          <a:prstGeom prst="roundRect">
            <a:avLst>
              <a:gd name="adj" fmla="val 1484"/>
            </a:avLst>
          </a:prstGeom>
          <a:solidFill>
            <a:srgbClr val="13293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1" name="Rechthoek: afgeronde hoeken 30">
            <a:extLst>
              <a:ext uri="{FF2B5EF4-FFF2-40B4-BE49-F238E27FC236}">
                <a16:creationId xmlns:a16="http://schemas.microsoft.com/office/drawing/2014/main" id="{8A06FF17-620E-FB6B-4500-3E72E6884F3A}"/>
              </a:ext>
            </a:extLst>
          </p:cNvPr>
          <p:cNvSpPr/>
          <p:nvPr/>
        </p:nvSpPr>
        <p:spPr>
          <a:xfrm flipH="1">
            <a:off x="226575" y="218049"/>
            <a:ext cx="6371416" cy="6421902"/>
          </a:xfrm>
          <a:prstGeom prst="roundRect">
            <a:avLst>
              <a:gd name="adj" fmla="val 1484"/>
            </a:avLst>
          </a:prstGeom>
          <a:blipFill dpi="0" rotWithShape="1">
            <a:blip r:embed="rId3">
              <a:alphaModFix amt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2019" r="-32019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2" name="Rechthoek: afgeronde hoeken 31">
            <a:extLst>
              <a:ext uri="{FF2B5EF4-FFF2-40B4-BE49-F238E27FC236}">
                <a16:creationId xmlns:a16="http://schemas.microsoft.com/office/drawing/2014/main" id="{E8AD3C24-75BC-A924-2D11-DCF0ADE50208}"/>
              </a:ext>
            </a:extLst>
          </p:cNvPr>
          <p:cNvSpPr/>
          <p:nvPr/>
        </p:nvSpPr>
        <p:spPr>
          <a:xfrm>
            <a:off x="4125216" y="2173003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tx2">
              <a:alpha val="80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3" name="Rechthoek: afgeronde hoeken 32">
            <a:extLst>
              <a:ext uri="{FF2B5EF4-FFF2-40B4-BE49-F238E27FC236}">
                <a16:creationId xmlns:a16="http://schemas.microsoft.com/office/drawing/2014/main" id="{6E40F962-BE43-996E-195D-414ABCD18B56}"/>
              </a:ext>
            </a:extLst>
          </p:cNvPr>
          <p:cNvSpPr/>
          <p:nvPr/>
        </p:nvSpPr>
        <p:spPr>
          <a:xfrm>
            <a:off x="6699334" y="2173003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4" name="Rechthoek: afgeronde hoeken 33">
            <a:extLst>
              <a:ext uri="{FF2B5EF4-FFF2-40B4-BE49-F238E27FC236}">
                <a16:creationId xmlns:a16="http://schemas.microsoft.com/office/drawing/2014/main" id="{B5F4CF6A-55E8-A0E9-2D5F-1BBE355C6818}"/>
              </a:ext>
            </a:extLst>
          </p:cNvPr>
          <p:cNvSpPr/>
          <p:nvPr/>
        </p:nvSpPr>
        <p:spPr>
          <a:xfrm>
            <a:off x="9273451" y="2173003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7" name="Rechthoek: afgeronde hoeken 36">
            <a:extLst>
              <a:ext uri="{FF2B5EF4-FFF2-40B4-BE49-F238E27FC236}">
                <a16:creationId xmlns:a16="http://schemas.microsoft.com/office/drawing/2014/main" id="{513D8D8B-4F8F-0E77-0109-20FE5FE319D6}"/>
              </a:ext>
            </a:extLst>
          </p:cNvPr>
          <p:cNvSpPr/>
          <p:nvPr/>
        </p:nvSpPr>
        <p:spPr>
          <a:xfrm>
            <a:off x="4125216" y="436230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tx2">
              <a:alpha val="80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id="{14CF6A0A-6693-91EE-35F2-953381DBF7F1}"/>
              </a:ext>
            </a:extLst>
          </p:cNvPr>
          <p:cNvSpPr/>
          <p:nvPr/>
        </p:nvSpPr>
        <p:spPr>
          <a:xfrm>
            <a:off x="6699334" y="436230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9" name="Rechthoek: afgeronde hoeken 38">
            <a:extLst>
              <a:ext uri="{FF2B5EF4-FFF2-40B4-BE49-F238E27FC236}">
                <a16:creationId xmlns:a16="http://schemas.microsoft.com/office/drawing/2014/main" id="{EC8EFB8C-F7F2-C7D9-4665-70C765804569}"/>
              </a:ext>
            </a:extLst>
          </p:cNvPr>
          <p:cNvSpPr/>
          <p:nvPr/>
        </p:nvSpPr>
        <p:spPr>
          <a:xfrm>
            <a:off x="9273451" y="436230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45" name="Tekstvak 44">
            <a:extLst>
              <a:ext uri="{FF2B5EF4-FFF2-40B4-BE49-F238E27FC236}">
                <a16:creationId xmlns:a16="http://schemas.microsoft.com/office/drawing/2014/main" id="{CF4B36BE-B5CD-8FA8-3E89-8BAD05D42C84}"/>
              </a:ext>
            </a:extLst>
          </p:cNvPr>
          <p:cNvSpPr txBox="1"/>
          <p:nvPr/>
        </p:nvSpPr>
        <p:spPr>
          <a:xfrm>
            <a:off x="7246668" y="3206866"/>
            <a:ext cx="1576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bg2"/>
                </a:solidFill>
              </a:rPr>
              <a:t>9,000+</a:t>
            </a: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5B39D134-0F10-DEA3-1414-84E9064466F8}"/>
              </a:ext>
            </a:extLst>
          </p:cNvPr>
          <p:cNvSpPr txBox="1"/>
          <p:nvPr/>
        </p:nvSpPr>
        <p:spPr>
          <a:xfrm>
            <a:off x="7246668" y="3589953"/>
            <a:ext cx="15767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customers</a:t>
            </a: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A0DEB193-E1E6-D8C4-2658-398D03A13B66}"/>
              </a:ext>
            </a:extLst>
          </p:cNvPr>
          <p:cNvSpPr txBox="1"/>
          <p:nvPr/>
        </p:nvSpPr>
        <p:spPr>
          <a:xfrm>
            <a:off x="4674534" y="3183718"/>
            <a:ext cx="1576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>
                <a:solidFill>
                  <a:schemeClr val="bg2"/>
                </a:solidFill>
              </a:rPr>
              <a:t>2011</a:t>
            </a: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2AF366B3-A07F-6334-7A61-0E15D6CB19E2}"/>
              </a:ext>
            </a:extLst>
          </p:cNvPr>
          <p:cNvSpPr txBox="1"/>
          <p:nvPr/>
        </p:nvSpPr>
        <p:spPr>
          <a:xfrm>
            <a:off x="4846660" y="3589953"/>
            <a:ext cx="14046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bg1"/>
                </a:solidFill>
              </a:rPr>
              <a:t>Start</a:t>
            </a:r>
          </a:p>
        </p:txBody>
      </p:sp>
      <p:sp>
        <p:nvSpPr>
          <p:cNvPr id="50" name="Tekstvak 49">
            <a:extLst>
              <a:ext uri="{FF2B5EF4-FFF2-40B4-BE49-F238E27FC236}">
                <a16:creationId xmlns:a16="http://schemas.microsoft.com/office/drawing/2014/main" id="{95749518-2C6D-809C-EA11-4490F6F28E54}"/>
              </a:ext>
            </a:extLst>
          </p:cNvPr>
          <p:cNvSpPr txBox="1"/>
          <p:nvPr/>
        </p:nvSpPr>
        <p:spPr>
          <a:xfrm>
            <a:off x="8948159" y="3206866"/>
            <a:ext cx="24510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bg2"/>
                </a:solidFill>
              </a:rPr>
              <a:t>27 million</a:t>
            </a:r>
          </a:p>
        </p:txBody>
      </p:sp>
      <p:sp>
        <p:nvSpPr>
          <p:cNvPr id="51" name="Tekstvak 50">
            <a:extLst>
              <a:ext uri="{FF2B5EF4-FFF2-40B4-BE49-F238E27FC236}">
                <a16:creationId xmlns:a16="http://schemas.microsoft.com/office/drawing/2014/main" id="{48CB5642-AA56-041B-371F-9C61412A73B9}"/>
              </a:ext>
            </a:extLst>
          </p:cNvPr>
          <p:cNvSpPr txBox="1"/>
          <p:nvPr/>
        </p:nvSpPr>
        <p:spPr>
          <a:xfrm>
            <a:off x="9746529" y="3589953"/>
            <a:ext cx="16527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endpoints</a:t>
            </a:r>
          </a:p>
        </p:txBody>
      </p:sp>
      <p:sp>
        <p:nvSpPr>
          <p:cNvPr id="54" name="Tekstvak 53">
            <a:extLst>
              <a:ext uri="{FF2B5EF4-FFF2-40B4-BE49-F238E27FC236}">
                <a16:creationId xmlns:a16="http://schemas.microsoft.com/office/drawing/2014/main" id="{0A82698B-D117-4634-3174-B0FD8DACA294}"/>
              </a:ext>
            </a:extLst>
          </p:cNvPr>
          <p:cNvSpPr txBox="1"/>
          <p:nvPr/>
        </p:nvSpPr>
        <p:spPr>
          <a:xfrm>
            <a:off x="7637868" y="5124972"/>
            <a:ext cx="11855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>
                <a:solidFill>
                  <a:schemeClr val="bg2"/>
                </a:solidFill>
              </a:rPr>
              <a:t>150+</a:t>
            </a:r>
          </a:p>
        </p:txBody>
      </p:sp>
      <p:sp>
        <p:nvSpPr>
          <p:cNvPr id="55" name="Tekstvak 54">
            <a:extLst>
              <a:ext uri="{FF2B5EF4-FFF2-40B4-BE49-F238E27FC236}">
                <a16:creationId xmlns:a16="http://schemas.microsoft.com/office/drawing/2014/main" id="{5811BBFA-8C4F-0E40-213F-20D54246E9E9}"/>
              </a:ext>
            </a:extLst>
          </p:cNvPr>
          <p:cNvSpPr txBox="1"/>
          <p:nvPr/>
        </p:nvSpPr>
        <p:spPr>
          <a:xfrm>
            <a:off x="7155562" y="5508059"/>
            <a:ext cx="16678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people &amp; </a:t>
            </a:r>
            <a:br>
              <a:rPr lang="en-US" sz="2000">
                <a:solidFill>
                  <a:schemeClr val="tx2"/>
                </a:solidFill>
              </a:rPr>
            </a:br>
            <a:r>
              <a:rPr lang="en-US" sz="2000">
                <a:solidFill>
                  <a:schemeClr val="tx2"/>
                </a:solidFill>
              </a:rPr>
              <a:t>growing</a:t>
            </a: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ABC8FC76-C3D7-796E-7AD5-04AD14A97030}"/>
              </a:ext>
            </a:extLst>
          </p:cNvPr>
          <p:cNvSpPr txBox="1"/>
          <p:nvPr/>
        </p:nvSpPr>
        <p:spPr>
          <a:xfrm>
            <a:off x="4674534" y="5403813"/>
            <a:ext cx="1576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2800" b="1">
                <a:solidFill>
                  <a:schemeClr val="bg2"/>
                </a:solidFill>
              </a:rPr>
              <a:t>6</a:t>
            </a:r>
            <a:r>
              <a:rPr lang="en-US" sz="2800" b="1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57" name="Tekstvak 56">
            <a:extLst>
              <a:ext uri="{FF2B5EF4-FFF2-40B4-BE49-F238E27FC236}">
                <a16:creationId xmlns:a16="http://schemas.microsoft.com/office/drawing/2014/main" id="{1803D1E7-6398-6630-7B19-FB632D36616F}"/>
              </a:ext>
            </a:extLst>
          </p:cNvPr>
          <p:cNvSpPr txBox="1"/>
          <p:nvPr/>
        </p:nvSpPr>
        <p:spPr>
          <a:xfrm>
            <a:off x="4194663" y="5815835"/>
            <a:ext cx="21260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bg1"/>
                </a:solidFill>
              </a:rPr>
              <a:t>Microsoft MVPs</a:t>
            </a:r>
          </a:p>
        </p:txBody>
      </p:sp>
      <p:sp>
        <p:nvSpPr>
          <p:cNvPr id="59" name="Tekstvak 58">
            <a:extLst>
              <a:ext uri="{FF2B5EF4-FFF2-40B4-BE49-F238E27FC236}">
                <a16:creationId xmlns:a16="http://schemas.microsoft.com/office/drawing/2014/main" id="{4D500E44-BD25-F905-A1A7-51F8F965BFE7}"/>
              </a:ext>
            </a:extLst>
          </p:cNvPr>
          <p:cNvSpPr txBox="1"/>
          <p:nvPr/>
        </p:nvSpPr>
        <p:spPr>
          <a:xfrm>
            <a:off x="8447834" y="5124972"/>
            <a:ext cx="29514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bg2"/>
                </a:solidFill>
              </a:rPr>
              <a:t>2,850+</a:t>
            </a:r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2CBC90A2-E7BE-682B-31D3-6E0B11322DEE}"/>
              </a:ext>
            </a:extLst>
          </p:cNvPr>
          <p:cNvSpPr txBox="1"/>
          <p:nvPr/>
        </p:nvSpPr>
        <p:spPr>
          <a:xfrm>
            <a:off x="9144159" y="5508059"/>
            <a:ext cx="225508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rgbClr val="13293F"/>
                </a:solidFill>
              </a:rPr>
              <a:t>public apps </a:t>
            </a:r>
            <a:br>
              <a:rPr lang="en-US" sz="2000">
                <a:solidFill>
                  <a:srgbClr val="13293F"/>
                </a:solidFill>
              </a:rPr>
            </a:br>
            <a:r>
              <a:rPr lang="en-US" sz="2000">
                <a:solidFill>
                  <a:srgbClr val="13293F"/>
                </a:solidFill>
              </a:rPr>
              <a:t>in catalog</a:t>
            </a:r>
          </a:p>
        </p:txBody>
      </p:sp>
      <p:pic>
        <p:nvPicPr>
          <p:cNvPr id="63" name="Graphic 62">
            <a:extLst>
              <a:ext uri="{FF2B5EF4-FFF2-40B4-BE49-F238E27FC236}">
                <a16:creationId xmlns:a16="http://schemas.microsoft.com/office/drawing/2014/main" id="{5D81310B-74E8-B99A-665E-001ECD1337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28959" y="2397477"/>
            <a:ext cx="622378" cy="622378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C5493761-A1C5-DEEE-E9B5-D626E05B7E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2300" y="4692402"/>
            <a:ext cx="622164" cy="524569"/>
          </a:xfrm>
          <a:prstGeom prst="rect">
            <a:avLst/>
          </a:prstGeom>
        </p:spPr>
      </p:pic>
      <p:sp>
        <p:nvSpPr>
          <p:cNvPr id="3" name="Tekstvak 57">
            <a:extLst>
              <a:ext uri="{FF2B5EF4-FFF2-40B4-BE49-F238E27FC236}">
                <a16:creationId xmlns:a16="http://schemas.microsoft.com/office/drawing/2014/main" id="{233D3F76-C052-3618-8FFF-053E347C2ABF}"/>
              </a:ext>
            </a:extLst>
          </p:cNvPr>
          <p:cNvSpPr txBox="1"/>
          <p:nvPr/>
        </p:nvSpPr>
        <p:spPr>
          <a:xfrm>
            <a:off x="8546836" y="1445633"/>
            <a:ext cx="307731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t a Glance</a:t>
            </a:r>
            <a:endParaRPr lang="nl-BE" sz="2400"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4" name="Tekstvak 59">
            <a:extLst>
              <a:ext uri="{FF2B5EF4-FFF2-40B4-BE49-F238E27FC236}">
                <a16:creationId xmlns:a16="http://schemas.microsoft.com/office/drawing/2014/main" id="{BED37A94-DBC3-8FFF-15F6-44699FE19540}"/>
              </a:ext>
            </a:extLst>
          </p:cNvPr>
          <p:cNvSpPr txBox="1"/>
          <p:nvPr/>
        </p:nvSpPr>
        <p:spPr>
          <a:xfrm>
            <a:off x="6190482" y="418439"/>
            <a:ext cx="54336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atch My PC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A3F3657C-8EDA-AA74-4EE4-F1DEA31DE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96908" y="4543214"/>
            <a:ext cx="602939" cy="602939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159A646-8259-A89E-8180-07440464F60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62347" y="2404728"/>
            <a:ext cx="512848" cy="606093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40B61634-DABC-FAA8-471E-4D7967A7A3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31742" y="2508068"/>
            <a:ext cx="637637" cy="502752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FE9E5A0C-6E30-97E3-CE8F-829F2002BB7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8107" y="4623594"/>
            <a:ext cx="616773" cy="593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7144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4" dur="10" fill="hold"/>
                                        <p:tgtEl>
                                          <p:spTgt spid="6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6" dur="750" fill="hold"/>
                                        <p:tgtEl>
                                          <p:spTgt spid="6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7 L 4.375E-6 3.33333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.01667 -0.00047 L -3.125E-6 3.33333E-6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.01667 -0.00047 L -3.125E-6 4.07407E-6 " pathEditMode="relative" rAng="0" ptsTypes="AA">
                                      <p:cBhvr>
                                        <p:cTn id="5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.01667 -0.00047 L -3.95833E-6 3.33333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.01666 -0.00047 L 3.75E-6 4.07407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73" dur="10" fill="hold"/>
                                        <p:tgtEl>
                                          <p:spTgt spid="7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75" dur="750" fill="hold"/>
                                        <p:tgtEl>
                                          <p:spTgt spid="7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0.01666 -0.00046 L 4.375E-6 -3.7037E-6 " pathEditMode="relative" rAng="0" ptsTypes="AA">
                                      <p:cBhvr>
                                        <p:cTn id="8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0.01667 -0.00046 L 4.16667E-7 -2.96296E-6 " pathEditMode="relative" rAng="0" ptsTypes="AA">
                                      <p:cBhvr>
                                        <p:cTn id="8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2" presetClass="entr" presetSubtype="4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0.01667 -0.00047 L 1.25E-6 3.7037E-6 " pathEditMode="relative" rAng="0" ptsTypes="AA">
                                      <p:cBhvr>
                                        <p:cTn id="9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0.01666 -0.00046 L 2.70833E-6 -7.40741E-7 " pathEditMode="relative" rAng="0" ptsTypes="AA">
                                      <p:cBhvr>
                                        <p:cTn id="9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2" presetClass="path" presetSubtype="0" decel="100000" fill="hold" grpId="1" nodeType="withEffect">
                                  <p:stCondLst>
                                    <p:cond delay="2400"/>
                                  </p:stCondLst>
                                  <p:childTnLst>
                                    <p:animMotion origin="layout" path="M 0.01667 -0.00047 L -1.04167E-6 3.7037E-6 " pathEditMode="relative" rAng="0" ptsTypes="AA">
                                      <p:cBhvr>
                                        <p:cTn id="10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42" presetClass="path" presetSubtype="0" decel="100000" fill="hold" grpId="1" nodeType="withEffect">
                                  <p:stCondLst>
                                    <p:cond delay="240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1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24" dur="300" fill="hold"/>
                                        <p:tgtEl>
                                          <p:spTgt spid="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29" dur="10" fill="hold"/>
                                        <p:tgtEl>
                                          <p:spTgt spid="6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0" presetID="6" presetClass="emp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31" dur="750" fill="hold"/>
                                        <p:tgtEl>
                                          <p:spTgt spid="6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36" dur="10" fill="hold"/>
                                        <p:tgtEl>
                                          <p:spTgt spid="6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6" presetClass="emp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38" dur="750" fill="hold"/>
                                        <p:tgtEl>
                                          <p:spTgt spid="6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43" dur="50" fill="hold"/>
                                        <p:tgtEl>
                                          <p:spTgt spid="6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6" presetClass="emph" presetSubtype="0" decel="37333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45" dur="750" fill="hold"/>
                                        <p:tgtEl>
                                          <p:spTgt spid="6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50" dur="10" fill="hold"/>
                                        <p:tgtEl>
                                          <p:spTgt spid="7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6" presetClass="emp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52" dur="750" fill="hold"/>
                                        <p:tgtEl>
                                          <p:spTgt spid="7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1" grpId="1" animBg="1"/>
      <p:bldP spid="32" grpId="0" animBg="1"/>
      <p:bldP spid="33" grpId="0" animBg="1"/>
      <p:bldP spid="34" grpId="0" animBg="1"/>
      <p:bldP spid="37" grpId="0" animBg="1"/>
      <p:bldP spid="38" grpId="0" animBg="1"/>
      <p:bldP spid="39" grpId="0" animBg="1"/>
      <p:bldP spid="45" grpId="0"/>
      <p:bldP spid="45" grpId="1"/>
      <p:bldP spid="46" grpId="0"/>
      <p:bldP spid="46" grpId="1"/>
      <p:bldP spid="47" grpId="0"/>
      <p:bldP spid="47" grpId="1"/>
      <p:bldP spid="48" grpId="0"/>
      <p:bldP spid="48" grpId="1"/>
      <p:bldP spid="50" grpId="0"/>
      <p:bldP spid="50" grpId="1"/>
      <p:bldP spid="51" grpId="0"/>
      <p:bldP spid="51" grpId="1"/>
      <p:bldP spid="54" grpId="0"/>
      <p:bldP spid="54" grpId="1"/>
      <p:bldP spid="55" grpId="0"/>
      <p:bldP spid="55" grpId="1"/>
      <p:bldP spid="56" grpId="0"/>
      <p:bldP spid="56" grpId="1"/>
      <p:bldP spid="57" grpId="0"/>
      <p:bldP spid="57" grpId="1"/>
      <p:bldP spid="59" grpId="0"/>
      <p:bldP spid="59" grpId="1"/>
      <p:bldP spid="60" grpId="0"/>
      <p:bldP spid="60" grpId="1"/>
      <p:bldP spid="3" grpId="0"/>
      <p:bldP spid="4" grpId="0"/>
      <p:bldP spid="4" grpId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76C64E-2FE2-2A93-F41A-A64FB19C8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77E2374-6C8E-FA1C-709A-27CB7BA20F85}"/>
              </a:ext>
            </a:extLst>
          </p:cNvPr>
          <p:cNvSpPr/>
          <p:nvPr/>
        </p:nvSpPr>
        <p:spPr>
          <a:xfrm>
            <a:off x="7771913" y="678286"/>
            <a:ext cx="3166957" cy="2586785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hoek: afgeronde hoeken 61">
            <a:extLst>
              <a:ext uri="{FF2B5EF4-FFF2-40B4-BE49-F238E27FC236}">
                <a16:creationId xmlns:a16="http://schemas.microsoft.com/office/drawing/2014/main" id="{72DF6CC3-EAD6-9B4E-1EA0-1F1C3C82FFAB}"/>
              </a:ext>
            </a:extLst>
          </p:cNvPr>
          <p:cNvSpPr/>
          <p:nvPr/>
        </p:nvSpPr>
        <p:spPr>
          <a:xfrm>
            <a:off x="7997333" y="846697"/>
            <a:ext cx="3032922" cy="2597927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110B9904-1D81-EFBA-A537-50E56C036294}"/>
              </a:ext>
            </a:extLst>
          </p:cNvPr>
          <p:cNvSpPr/>
          <p:nvPr/>
        </p:nvSpPr>
        <p:spPr>
          <a:xfrm>
            <a:off x="4299918" y="504666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hoek: afgeronde hoeken 61">
            <a:extLst>
              <a:ext uri="{FF2B5EF4-FFF2-40B4-BE49-F238E27FC236}">
                <a16:creationId xmlns:a16="http://schemas.microsoft.com/office/drawing/2014/main" id="{A69522F6-B52F-2035-2461-0BCD23CEA0B0}"/>
              </a:ext>
            </a:extLst>
          </p:cNvPr>
          <p:cNvSpPr/>
          <p:nvPr/>
        </p:nvSpPr>
        <p:spPr>
          <a:xfrm>
            <a:off x="4525338" y="67307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A9B058-1230-B913-6E95-06CFA73E4844}"/>
              </a:ext>
            </a:extLst>
          </p:cNvPr>
          <p:cNvSpPr txBox="1"/>
          <p:nvPr/>
        </p:nvSpPr>
        <p:spPr>
          <a:xfrm>
            <a:off x="4499957" y="1869710"/>
            <a:ext cx="2680332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onfigure scope tags for applications to limit what administrators can see applications created by Patch My PC in Intun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20F479-44A8-1BE7-B78C-57BC34A48901}"/>
              </a:ext>
            </a:extLst>
          </p:cNvPr>
          <p:cNvSpPr txBox="1"/>
          <p:nvPr/>
        </p:nvSpPr>
        <p:spPr>
          <a:xfrm>
            <a:off x="4487668" y="825908"/>
            <a:ext cx="2621641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</a:rPr>
              <a:t>Remove Public 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 i="0">
                <a:solidFill>
                  <a:srgbClr val="FFFFFF"/>
                </a:solidFill>
                <a:effectLst/>
              </a:rPr>
              <a:t>Desktop Shortcuts  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 i="0">
                <a:solidFill>
                  <a:srgbClr val="FFFFFF"/>
                </a:solidFill>
                <a:effectLst/>
              </a:rPr>
              <a:t>Post Install  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325D9B-EEAD-5A98-3968-3921A14741FB}"/>
              </a:ext>
            </a:extLst>
          </p:cNvPr>
          <p:cNvSpPr txBox="1"/>
          <p:nvPr/>
        </p:nvSpPr>
        <p:spPr>
          <a:xfrm>
            <a:off x="7997333" y="1830421"/>
            <a:ext cx="2763520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If you ever need to configure environment-specific configurations when installing or updating a product, you can use add </a:t>
            </a:r>
            <a:r>
              <a:rPr lang="en-US" sz="1200" i="0" u="sng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custom pre/post scripts</a:t>
            </a:r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C2D148F-B4A2-E7F3-47BF-87F1D968328A}"/>
              </a:ext>
            </a:extLst>
          </p:cNvPr>
          <p:cNvSpPr txBox="1"/>
          <p:nvPr/>
        </p:nvSpPr>
        <p:spPr>
          <a:xfrm>
            <a:off x="7993306" y="925836"/>
            <a:ext cx="1988436" cy="52918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Add Custom  Pre/</a:t>
            </a:r>
            <a:r>
              <a:rPr lang="en-US" sz="1600" b="1">
                <a:solidFill>
                  <a:srgbClr val="FFFFFF"/>
                </a:solidFill>
                <a:latin typeface="Poppins"/>
                <a:cs typeface="Poppins"/>
              </a:rPr>
              <a:t>Post Scripts</a:t>
            </a:r>
            <a:endParaRPr lang="en-US" sz="1600" i="0">
              <a:solidFill>
                <a:srgbClr val="FFFFFF"/>
              </a:solidFill>
              <a:effectLst/>
              <a:latin typeface="Poppins" panose="00000500000000000000" pitchFamily="2" charset="0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4560C204-82F5-5E05-3E2F-CA340A6F8687}"/>
              </a:ext>
            </a:extLst>
          </p:cNvPr>
          <p:cNvSpPr/>
          <p:nvPr/>
        </p:nvSpPr>
        <p:spPr>
          <a:xfrm>
            <a:off x="7766917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hoek: afgeronde hoeken 61">
            <a:extLst>
              <a:ext uri="{FF2B5EF4-FFF2-40B4-BE49-F238E27FC236}">
                <a16:creationId xmlns:a16="http://schemas.microsoft.com/office/drawing/2014/main" id="{AAC51E41-3366-E0FF-4EFB-0DF99D24F664}"/>
              </a:ext>
            </a:extLst>
          </p:cNvPr>
          <p:cNvSpPr/>
          <p:nvPr/>
        </p:nvSpPr>
        <p:spPr>
          <a:xfrm>
            <a:off x="7992337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F12C005A-1347-2768-A010-295F25B36E66}"/>
              </a:ext>
            </a:extLst>
          </p:cNvPr>
          <p:cNvSpPr/>
          <p:nvPr/>
        </p:nvSpPr>
        <p:spPr>
          <a:xfrm>
            <a:off x="4294922" y="3517689"/>
            <a:ext cx="3166957" cy="2827924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hoek: afgeronde hoeken 61">
            <a:extLst>
              <a:ext uri="{FF2B5EF4-FFF2-40B4-BE49-F238E27FC236}">
                <a16:creationId xmlns:a16="http://schemas.microsoft.com/office/drawing/2014/main" id="{4BB02FE1-93A9-B4AB-585D-C3FD62791FA7}"/>
              </a:ext>
            </a:extLst>
          </p:cNvPr>
          <p:cNvSpPr/>
          <p:nvPr/>
        </p:nvSpPr>
        <p:spPr>
          <a:xfrm>
            <a:off x="4520342" y="3686100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DF09BB2-9BC3-303F-44A7-1AF4BB94C24F}"/>
              </a:ext>
            </a:extLst>
          </p:cNvPr>
          <p:cNvSpPr txBox="1"/>
          <p:nvPr/>
        </p:nvSpPr>
        <p:spPr>
          <a:xfrm>
            <a:off x="4494960" y="4882733"/>
            <a:ext cx="275775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 spc="-30">
                <a:solidFill>
                  <a:schemeClr val="bg1"/>
                </a:solidFill>
                <a:effectLst/>
                <a:latin typeface="Poppins"/>
                <a:cs typeface="Poppins"/>
              </a:rPr>
              <a:t>Configure </a:t>
            </a:r>
            <a:r>
              <a:rPr lang="en-US" sz="1200" i="0" u="sng" spc="-30">
                <a:solidFill>
                  <a:schemeClr val="bg1"/>
                </a:solidFill>
                <a:effectLst/>
                <a:latin typeface="Poppins"/>
                <a:cs typeface="Poppins"/>
              </a:rPr>
              <a:t>security scopes</a:t>
            </a:r>
            <a:r>
              <a:rPr lang="en-US" sz="1200" i="0" spc="-30">
                <a:solidFill>
                  <a:schemeClr val="bg1"/>
                </a:solidFill>
                <a:effectLst/>
                <a:latin typeface="Poppins"/>
                <a:cs typeface="Poppins"/>
              </a:rPr>
              <a:t> for apps to limit which admins can see </a:t>
            </a:r>
            <a:r>
              <a:rPr lang="en-US" sz="1200" spc="-30">
                <a:solidFill>
                  <a:schemeClr val="bg1"/>
                </a:solidFill>
                <a:latin typeface="Poppins"/>
                <a:cs typeface="Poppins"/>
              </a:rPr>
              <a:t>apps</a:t>
            </a:r>
            <a:r>
              <a:rPr lang="en-US" sz="1200" i="0" spc="-30">
                <a:solidFill>
                  <a:schemeClr val="bg1"/>
                </a:solidFill>
                <a:effectLst/>
                <a:latin typeface="Poppins"/>
                <a:cs typeface="Poppins"/>
              </a:rPr>
              <a:t> created by Patch My PC in </a:t>
            </a:r>
            <a:r>
              <a:rPr lang="en-US" sz="1200" i="0" spc="-30" err="1">
                <a:solidFill>
                  <a:schemeClr val="bg1"/>
                </a:solidFill>
                <a:effectLst/>
                <a:latin typeface="Poppins"/>
                <a:cs typeface="Poppins"/>
              </a:rPr>
              <a:t>ConfigMgr</a:t>
            </a:r>
            <a:endParaRPr lang="en-US" sz="1200" i="0">
              <a:solidFill>
                <a:schemeClr val="bg1"/>
              </a:solidFill>
              <a:effectLst/>
              <a:latin typeface="Poppins"/>
              <a:cs typeface="Poppin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75B47A9-24E2-E3EE-B854-F51BAAE23094}"/>
              </a:ext>
            </a:extLst>
          </p:cNvPr>
          <p:cNvSpPr txBox="1"/>
          <p:nvPr/>
        </p:nvSpPr>
        <p:spPr>
          <a:xfrm>
            <a:off x="4482672" y="3838931"/>
            <a:ext cx="2136365" cy="749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Add Security Scopes to Apps in </a:t>
            </a:r>
            <a:r>
              <a:rPr lang="en-US" sz="1600" b="1" i="0" err="1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ConfigMgr</a:t>
            </a:r>
            <a:endParaRPr lang="en-US" sz="1600" b="1" i="0">
              <a:solidFill>
                <a:srgbClr val="FFFFFF"/>
              </a:solidFill>
              <a:effectLst/>
              <a:latin typeface="Poppins" panose="000005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6F8A54C-5286-CE2E-D59D-8F63230190CD}"/>
              </a:ext>
            </a:extLst>
          </p:cNvPr>
          <p:cNvSpPr txBox="1"/>
          <p:nvPr/>
        </p:nvSpPr>
        <p:spPr>
          <a:xfrm>
            <a:off x="7992337" y="4891672"/>
            <a:ext cx="256262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Easily adjust installation command-lines to configure license keys or other environment-specific options</a:t>
            </a: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2933752-3073-782D-D96C-468AAF170BCF}"/>
              </a:ext>
            </a:extLst>
          </p:cNvPr>
          <p:cNvSpPr txBox="1"/>
          <p:nvPr/>
        </p:nvSpPr>
        <p:spPr>
          <a:xfrm>
            <a:off x="7988309" y="3765239"/>
            <a:ext cx="2319927" cy="749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Modify Installation Commands for Applications  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7571F49B-0C51-39E2-0B45-F247B8C2307F}"/>
              </a:ext>
            </a:extLst>
          </p:cNvPr>
          <p:cNvSpPr/>
          <p:nvPr/>
        </p:nvSpPr>
        <p:spPr>
          <a:xfrm>
            <a:off x="806511" y="668640"/>
            <a:ext cx="3166957" cy="5678430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hoek: afgeronde hoeken 61">
            <a:extLst>
              <a:ext uri="{FF2B5EF4-FFF2-40B4-BE49-F238E27FC236}">
                <a16:creationId xmlns:a16="http://schemas.microsoft.com/office/drawing/2014/main" id="{A3F78B82-6493-BDDA-9572-A07B346CEE9C}"/>
              </a:ext>
            </a:extLst>
          </p:cNvPr>
          <p:cNvSpPr/>
          <p:nvPr/>
        </p:nvSpPr>
        <p:spPr>
          <a:xfrm>
            <a:off x="1031931" y="673076"/>
            <a:ext cx="3042567" cy="5803861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0F107FA-5023-E70D-5025-A95DA7772859}"/>
              </a:ext>
            </a:extLst>
          </p:cNvPr>
          <p:cNvSpPr txBox="1"/>
          <p:nvPr/>
        </p:nvSpPr>
        <p:spPr>
          <a:xfrm>
            <a:off x="1072561" y="1869710"/>
            <a:ext cx="267078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  <a:latin typeface="Poppins" panose="00000500000000000000" pitchFamily="2" charset="0"/>
              </a:rPr>
              <a:t>Leave the commands behind–use our improved graphical interface to customize packages</a:t>
            </a:r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E39DE56-3747-F235-C744-94137C18D78B}"/>
              </a:ext>
            </a:extLst>
          </p:cNvPr>
          <p:cNvSpPr txBox="1"/>
          <p:nvPr/>
        </p:nvSpPr>
        <p:spPr>
          <a:xfrm>
            <a:off x="1060273" y="825908"/>
            <a:ext cx="1985261" cy="749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</a:rPr>
              <a:t>Customize 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 i="0">
                <a:solidFill>
                  <a:srgbClr val="FFFFFF"/>
                </a:solidFill>
                <a:effectLst/>
              </a:rPr>
              <a:t>Application Packages  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60DC6251-3D77-86D9-DAC6-3B8CB666D05A}"/>
              </a:ext>
            </a:extLst>
          </p:cNvPr>
          <p:cNvSpPr/>
          <p:nvPr/>
        </p:nvSpPr>
        <p:spPr>
          <a:xfrm>
            <a:off x="1151690" y="2936138"/>
            <a:ext cx="2482734" cy="3048837"/>
          </a:xfrm>
          <a:prstGeom prst="roundRect">
            <a:avLst>
              <a:gd name="adj" fmla="val 5190"/>
            </a:avLst>
          </a:prstGeom>
          <a:solidFill>
            <a:srgbClr val="FFFFFF"/>
          </a:solidFill>
          <a:ln w="12700">
            <a:solidFill>
              <a:srgbClr val="00609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0D3569F-BC4C-17E2-8953-3E2001862C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71984" y="877599"/>
            <a:ext cx="366363" cy="3663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C2D9395-C9E8-C6B3-D5E9-68BD182C3C1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83" t="666" r="918" b="502"/>
          <a:stretch/>
        </p:blipFill>
        <p:spPr>
          <a:xfrm>
            <a:off x="1271298" y="3012236"/>
            <a:ext cx="2273299" cy="2921839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0DCBB7C-F977-1B15-31EA-87C1842A6E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66584" y="790341"/>
            <a:ext cx="430475" cy="43047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C097BFB-8ABA-8F7A-4B84-E67A2C8A1F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77042" y="3838855"/>
            <a:ext cx="375677" cy="37567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C2FFB8E-11D2-87BA-11DD-1073D49BB4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23429" y="3836903"/>
            <a:ext cx="377629" cy="3776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EE67D75-66AE-0F81-BC8F-4FF30492B01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05620" y="922144"/>
            <a:ext cx="495438" cy="4954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660EAB-6579-4EB7-F6CD-2B2D5A41015F}"/>
              </a:ext>
            </a:extLst>
          </p:cNvPr>
          <p:cNvCxnSpPr>
            <a:cxnSpLocks/>
          </p:cNvCxnSpPr>
          <p:nvPr/>
        </p:nvCxnSpPr>
        <p:spPr>
          <a:xfrm>
            <a:off x="1154931" y="1711163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A4D2CC-3C73-939B-EF93-F2EB8EBE7ADF}"/>
              </a:ext>
            </a:extLst>
          </p:cNvPr>
          <p:cNvCxnSpPr>
            <a:cxnSpLocks/>
          </p:cNvCxnSpPr>
          <p:nvPr/>
        </p:nvCxnSpPr>
        <p:spPr>
          <a:xfrm>
            <a:off x="4598042" y="1746441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D9C8FA-2C8B-9EE0-57F1-782182A46349}"/>
              </a:ext>
            </a:extLst>
          </p:cNvPr>
          <p:cNvCxnSpPr>
            <a:cxnSpLocks/>
          </p:cNvCxnSpPr>
          <p:nvPr/>
        </p:nvCxnSpPr>
        <p:spPr>
          <a:xfrm>
            <a:off x="8097598" y="1675885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72A273-4364-EE8A-FC0A-84C344D5FFC0}"/>
              </a:ext>
            </a:extLst>
          </p:cNvPr>
          <p:cNvCxnSpPr>
            <a:cxnSpLocks/>
          </p:cNvCxnSpPr>
          <p:nvPr/>
        </p:nvCxnSpPr>
        <p:spPr>
          <a:xfrm>
            <a:off x="4598042" y="4752107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4C4991E-D053-D5FC-AEBE-B6345025904F}"/>
              </a:ext>
            </a:extLst>
          </p:cNvPr>
          <p:cNvCxnSpPr>
            <a:cxnSpLocks/>
          </p:cNvCxnSpPr>
          <p:nvPr/>
        </p:nvCxnSpPr>
        <p:spPr>
          <a:xfrm>
            <a:off x="8097598" y="4716830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2528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2D72E9-AF11-8FCA-E664-BB248C8A5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!!BG">
            <a:extLst>
              <a:ext uri="{FF2B5EF4-FFF2-40B4-BE49-F238E27FC236}">
                <a16:creationId xmlns:a16="http://schemas.microsoft.com/office/drawing/2014/main" id="{8E3829EF-2CBF-32B1-24EE-149799DB9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2"/>
            <a:ext cx="12193722" cy="684961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4F9608-80AC-0009-A39B-23632FB3258C}"/>
              </a:ext>
            </a:extLst>
          </p:cNvPr>
          <p:cNvSpPr txBox="1"/>
          <p:nvPr/>
        </p:nvSpPr>
        <p:spPr>
          <a:xfrm>
            <a:off x="694855" y="1029485"/>
            <a:ext cx="6630400" cy="156966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800" b="1" spc="-30">
                <a:solidFill>
                  <a:schemeClr val="bg1"/>
                </a:solidFill>
                <a:latin typeface="+mj-lt"/>
              </a:rPr>
              <a:t>     Patch My PC</a:t>
            </a:r>
            <a:endParaRPr lang="en-US" sz="4800" spc="-30">
              <a:solidFill>
                <a:schemeClr val="bg1"/>
              </a:solidFill>
              <a:latin typeface="+mj-lt"/>
              <a:cs typeface="Poppins"/>
            </a:endParaRPr>
          </a:p>
          <a:p>
            <a:r>
              <a:rPr lang="en-US" sz="4800" b="1" spc="-30">
                <a:solidFill>
                  <a:schemeClr val="bg2"/>
                </a:solidFill>
                <a:latin typeface="+mj-lt"/>
              </a:rPr>
              <a:t>Curated Catalog</a:t>
            </a:r>
            <a:endParaRPr lang="en-US" sz="4800" spc="-30">
              <a:solidFill>
                <a:schemeClr val="bg2"/>
              </a:solidFill>
              <a:latin typeface="+mj-lt"/>
              <a:cs typeface="Poppins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1BCFEF6-4BCB-8620-DE9E-42CF4C8A83E2}"/>
              </a:ext>
            </a:extLst>
          </p:cNvPr>
          <p:cNvSpPr/>
          <p:nvPr/>
        </p:nvSpPr>
        <p:spPr>
          <a:xfrm>
            <a:off x="6359858" y="623634"/>
            <a:ext cx="5264390" cy="3530532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4CF24F7-099B-0604-B0FC-A479E169C508}"/>
              </a:ext>
            </a:extLst>
          </p:cNvPr>
          <p:cNvSpPr/>
          <p:nvPr/>
        </p:nvSpPr>
        <p:spPr>
          <a:xfrm>
            <a:off x="6583545" y="797410"/>
            <a:ext cx="4821541" cy="3184453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C07619-41B9-83BB-ADF9-69724DC4DC31}"/>
              </a:ext>
            </a:extLst>
          </p:cNvPr>
          <p:cNvSpPr txBox="1"/>
          <p:nvPr/>
        </p:nvSpPr>
        <p:spPr>
          <a:xfrm>
            <a:off x="707278" y="4632494"/>
            <a:ext cx="1372492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Used In: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F4A9FB-50AC-A8AE-9CC0-1318379F8ECA}"/>
              </a:ext>
            </a:extLst>
          </p:cNvPr>
          <p:cNvSpPr txBox="1"/>
          <p:nvPr/>
        </p:nvSpPr>
        <p:spPr>
          <a:xfrm>
            <a:off x="707278" y="5094159"/>
            <a:ext cx="2727029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Patch My PC Publisher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Patch My PC Cloud</a:t>
            </a:r>
            <a:endParaRPr lang="en-US" sz="1600">
              <a:solidFill>
                <a:schemeClr val="bg2"/>
              </a:solidFill>
              <a:cs typeface="Poppins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Advanced Insights</a:t>
            </a:r>
            <a:endParaRPr lang="en-US" sz="1600">
              <a:cs typeface="Poppin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D6B43C-06FC-C1BA-C185-DA6577FFDCF8}"/>
              </a:ext>
            </a:extLst>
          </p:cNvPr>
          <p:cNvCxnSpPr>
            <a:cxnSpLocks/>
          </p:cNvCxnSpPr>
          <p:nvPr/>
        </p:nvCxnSpPr>
        <p:spPr>
          <a:xfrm>
            <a:off x="819038" y="4482970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7E83C49-2295-079A-59C9-A810D212DB97}"/>
              </a:ext>
            </a:extLst>
          </p:cNvPr>
          <p:cNvSpPr txBox="1"/>
          <p:nvPr/>
        </p:nvSpPr>
        <p:spPr>
          <a:xfrm>
            <a:off x="698210" y="2728150"/>
            <a:ext cx="4854802" cy="10156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is unequaled in the industry </a:t>
            </a:r>
            <a:br>
              <a:rPr lang="en-US" sz="2000">
                <a:solidFill>
                  <a:schemeClr val="bg1"/>
                </a:solidFill>
              </a:rPr>
            </a:br>
            <a:r>
              <a:rPr lang="en-US" sz="2000">
                <a:solidFill>
                  <a:schemeClr val="bg1"/>
                </a:solidFill>
              </a:rPr>
              <a:t>for quality assurance of </a:t>
            </a:r>
            <a:br>
              <a:rPr lang="en-US" sz="2000">
                <a:solidFill>
                  <a:schemeClr val="bg1"/>
                </a:solidFill>
                <a:cs typeface="Poppins"/>
              </a:rPr>
            </a:br>
            <a:r>
              <a:rPr lang="en-US" sz="2000">
                <a:solidFill>
                  <a:schemeClr val="bg1"/>
                </a:solidFill>
              </a:rPr>
              <a:t>vendor applications</a:t>
            </a:r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093B63-6B4C-6334-D1ED-74B75D79B7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422" y="888536"/>
            <a:ext cx="3858568" cy="301660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6E5CBC9-5F1D-66A4-3388-0A95EC11A17E}"/>
              </a:ext>
            </a:extLst>
          </p:cNvPr>
          <p:cNvSpPr txBox="1"/>
          <p:nvPr/>
        </p:nvSpPr>
        <p:spPr>
          <a:xfrm>
            <a:off x="759291" y="1311262"/>
            <a:ext cx="732816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>
                <a:solidFill>
                  <a:schemeClr val="bg1">
                    <a:lumMod val="95000"/>
                  </a:schemeClr>
                </a:solidFill>
              </a:rPr>
              <a:t>The</a:t>
            </a:r>
            <a:endParaRPr lang="en-US" sz="160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" name="Rechthoek: afgeronde hoeken 60">
            <a:extLst>
              <a:ext uri="{FF2B5EF4-FFF2-40B4-BE49-F238E27FC236}">
                <a16:creationId xmlns:a16="http://schemas.microsoft.com/office/drawing/2014/main" id="{175971E7-D6B7-9240-E9D3-BB9251A04704}"/>
              </a:ext>
            </a:extLst>
          </p:cNvPr>
          <p:cNvSpPr/>
          <p:nvPr/>
        </p:nvSpPr>
        <p:spPr>
          <a:xfrm>
            <a:off x="6515857" y="4361210"/>
            <a:ext cx="4952243" cy="1620658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2B0EB2-398E-52E1-C49D-D34EC83A718A}"/>
              </a:ext>
            </a:extLst>
          </p:cNvPr>
          <p:cNvSpPr txBox="1"/>
          <p:nvPr/>
        </p:nvSpPr>
        <p:spPr>
          <a:xfrm>
            <a:off x="6699311" y="4571678"/>
            <a:ext cx="470664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spc="-20">
                <a:solidFill>
                  <a:schemeClr val="bg1"/>
                </a:solidFill>
              </a:rPr>
              <a:t>Every patching solution on the market has a source  </a:t>
            </a:r>
            <a:r>
              <a:rPr lang="en-US" sz="1400">
                <a:solidFill>
                  <a:schemeClr val="bg1"/>
                </a:solidFill>
              </a:rPr>
              <a:t>of truth – a catalog. Few in the industry use a </a:t>
            </a:r>
            <a:r>
              <a:rPr lang="en-US" sz="1400" b="1" spc="-30">
                <a:solidFill>
                  <a:schemeClr val="bg2"/>
                </a:solidFill>
              </a:rPr>
              <a:t>curated catalog </a:t>
            </a:r>
            <a:r>
              <a:rPr lang="en-US" sz="1400" spc="-30">
                <a:solidFill>
                  <a:schemeClr val="bg1"/>
                </a:solidFill>
              </a:rPr>
              <a:t>where every single update is tested </a:t>
            </a:r>
            <a:r>
              <a:rPr lang="en-US" sz="1400">
                <a:solidFill>
                  <a:schemeClr val="bg1"/>
                </a:solidFill>
              </a:rPr>
              <a:t>and vetted using both automation and human tribal knowledge that has been built over decades</a:t>
            </a:r>
          </a:p>
        </p:txBody>
      </p:sp>
    </p:spTree>
    <p:extLst>
      <p:ext uri="{BB962C8B-B14F-4D97-AF65-F5344CB8AC3E}">
        <p14:creationId xmlns:p14="http://schemas.microsoft.com/office/powerpoint/2010/main" val="3433576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049DD-BCC0-66FC-D0E1-EB0C988A0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9F38B1A7-0D09-320A-1997-F05364725F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661193" y="-2667967"/>
            <a:ext cx="6859934" cy="121920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C93F3CF-3902-67F4-EBD3-E75C4036C2D7}"/>
              </a:ext>
            </a:extLst>
          </p:cNvPr>
          <p:cNvGrpSpPr/>
          <p:nvPr/>
        </p:nvGrpSpPr>
        <p:grpSpPr>
          <a:xfrm>
            <a:off x="339892" y="1213895"/>
            <a:ext cx="5784246" cy="2798022"/>
            <a:chOff x="385326" y="2926515"/>
            <a:chExt cx="4132839" cy="1790436"/>
          </a:xfrm>
        </p:grpSpPr>
        <p:sp>
          <p:nvSpPr>
            <p:cNvPr id="8" name="Rechthoek: afgeronde hoeken 60">
              <a:extLst>
                <a:ext uri="{FF2B5EF4-FFF2-40B4-BE49-F238E27FC236}">
                  <a16:creationId xmlns:a16="http://schemas.microsoft.com/office/drawing/2014/main" id="{3CA01C09-1210-6C85-1607-8C97E2AA55E1}"/>
                </a:ext>
              </a:extLst>
            </p:cNvPr>
            <p:cNvSpPr/>
            <p:nvPr/>
          </p:nvSpPr>
          <p:spPr>
            <a:xfrm>
              <a:off x="385326" y="2926515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rgbClr val="003F6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0" name="Rechthoek: afgeronde hoeken 61">
              <a:extLst>
                <a:ext uri="{FF2B5EF4-FFF2-40B4-BE49-F238E27FC236}">
                  <a16:creationId xmlns:a16="http://schemas.microsoft.com/office/drawing/2014/main" id="{F19B27CB-1F25-C894-E437-F4B8325A9B5A}"/>
                </a:ext>
              </a:extLst>
            </p:cNvPr>
            <p:cNvSpPr/>
            <p:nvPr/>
          </p:nvSpPr>
          <p:spPr>
            <a:xfrm>
              <a:off x="501155" y="3042492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29A13-92EC-2062-6591-B9635FA66FD2}"/>
              </a:ext>
            </a:extLst>
          </p:cNvPr>
          <p:cNvGrpSpPr/>
          <p:nvPr/>
        </p:nvGrpSpPr>
        <p:grpSpPr>
          <a:xfrm>
            <a:off x="6653048" y="833987"/>
            <a:ext cx="5199060" cy="3475254"/>
            <a:chOff x="6453116" y="4239502"/>
            <a:chExt cx="4132839" cy="1790436"/>
          </a:xfrm>
        </p:grpSpPr>
        <p:sp>
          <p:nvSpPr>
            <p:cNvPr id="12" name="Rechthoek: afgeronde hoeken 60">
              <a:extLst>
                <a:ext uri="{FF2B5EF4-FFF2-40B4-BE49-F238E27FC236}">
                  <a16:creationId xmlns:a16="http://schemas.microsoft.com/office/drawing/2014/main" id="{6A845B9E-CCB0-D7FA-4462-363840CF3527}"/>
                </a:ext>
              </a:extLst>
            </p:cNvPr>
            <p:cNvSpPr/>
            <p:nvPr/>
          </p:nvSpPr>
          <p:spPr>
            <a:xfrm>
              <a:off x="6453116" y="4239502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rgbClr val="003F6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3" name="Rechthoek: afgeronde hoeken 61">
              <a:extLst>
                <a:ext uri="{FF2B5EF4-FFF2-40B4-BE49-F238E27FC236}">
                  <a16:creationId xmlns:a16="http://schemas.microsoft.com/office/drawing/2014/main" id="{081A9792-DE3A-E011-4933-EEBE3B70D1C1}"/>
                </a:ext>
              </a:extLst>
            </p:cNvPr>
            <p:cNvSpPr/>
            <p:nvPr/>
          </p:nvSpPr>
          <p:spPr>
            <a:xfrm>
              <a:off x="6568945" y="4355479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87F040AA-4686-3A46-3D01-AEC5DF4E8196}"/>
              </a:ext>
            </a:extLst>
          </p:cNvPr>
          <p:cNvSpPr txBox="1"/>
          <p:nvPr/>
        </p:nvSpPr>
        <p:spPr>
          <a:xfrm>
            <a:off x="622652" y="1626431"/>
            <a:ext cx="532874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Our app catalog gives customers the assurance that every application has been vetted, tested, and validated by our team of professionals who understand the nuances of enterprise application deploy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D4E165-BE50-5787-9F52-04065DF08DD0}"/>
              </a:ext>
            </a:extLst>
          </p:cNvPr>
          <p:cNvSpPr txBox="1"/>
          <p:nvPr/>
        </p:nvSpPr>
        <p:spPr>
          <a:xfrm>
            <a:off x="6957847" y="1172727"/>
            <a:ext cx="4565031" cy="255454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Our catalog is the result of years of specialized engineering, customer-driven development, and a relentless focus on real-world reliability</a:t>
            </a:r>
          </a:p>
          <a:p>
            <a:endParaRPr lang="en-US" sz="2000">
              <a:solidFill>
                <a:schemeClr val="bg1"/>
              </a:solidFill>
            </a:endParaRPr>
          </a:p>
          <a:p>
            <a:r>
              <a:rPr lang="en-US" sz="2000" i="1">
                <a:solidFill>
                  <a:schemeClr val="bg1"/>
                </a:solidFill>
              </a:rPr>
              <a:t>We don’t just package apps, we build trust into every release</a:t>
            </a:r>
            <a:endParaRPr lang="en-GB" sz="2000" i="1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363E6C-6F62-A231-6B7F-D051F948B498}"/>
              </a:ext>
            </a:extLst>
          </p:cNvPr>
          <p:cNvGrpSpPr/>
          <p:nvPr/>
        </p:nvGrpSpPr>
        <p:grpSpPr>
          <a:xfrm>
            <a:off x="1756194" y="4315420"/>
            <a:ext cx="4834856" cy="2387628"/>
            <a:chOff x="385326" y="2926515"/>
            <a:chExt cx="4132839" cy="1790436"/>
          </a:xfrm>
        </p:grpSpPr>
        <p:sp>
          <p:nvSpPr>
            <p:cNvPr id="17" name="Rechthoek: afgeronde hoeken 60">
              <a:extLst>
                <a:ext uri="{FF2B5EF4-FFF2-40B4-BE49-F238E27FC236}">
                  <a16:creationId xmlns:a16="http://schemas.microsoft.com/office/drawing/2014/main" id="{02830760-D5DF-4989-F982-7FDA80167911}"/>
                </a:ext>
              </a:extLst>
            </p:cNvPr>
            <p:cNvSpPr/>
            <p:nvPr/>
          </p:nvSpPr>
          <p:spPr>
            <a:xfrm>
              <a:off x="385326" y="2926515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rgbClr val="003F6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8" name="Rechthoek: afgeronde hoeken 61">
              <a:extLst>
                <a:ext uri="{FF2B5EF4-FFF2-40B4-BE49-F238E27FC236}">
                  <a16:creationId xmlns:a16="http://schemas.microsoft.com/office/drawing/2014/main" id="{5246D6E0-009C-DF55-1CC7-D7AA03A82926}"/>
                </a:ext>
              </a:extLst>
            </p:cNvPr>
            <p:cNvSpPr/>
            <p:nvPr/>
          </p:nvSpPr>
          <p:spPr>
            <a:xfrm>
              <a:off x="501155" y="3042492"/>
              <a:ext cx="4017010" cy="1674459"/>
            </a:xfrm>
            <a:prstGeom prst="roundRect">
              <a:avLst>
                <a:gd name="adj" fmla="val 6160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4843F0A-DB76-D8EE-7527-E262D66FF219}"/>
              </a:ext>
            </a:extLst>
          </p:cNvPr>
          <p:cNvSpPr txBox="1"/>
          <p:nvPr/>
        </p:nvSpPr>
        <p:spPr>
          <a:xfrm>
            <a:off x="2173827" y="4695543"/>
            <a:ext cx="4418786" cy="16312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Crowdsourcing apps from community catalogs has a place, but it </a:t>
            </a:r>
            <a:r>
              <a:rPr lang="en-US" sz="2000">
                <a:solidFill>
                  <a:schemeClr val="accent2"/>
                </a:solidFill>
              </a:rPr>
              <a:t>shouldn’t</a:t>
            </a:r>
            <a:r>
              <a:rPr lang="en-US" sz="2000">
                <a:solidFill>
                  <a:schemeClr val="bg1"/>
                </a:solidFill>
              </a:rPr>
              <a:t> be the </a:t>
            </a:r>
            <a:br>
              <a:rPr lang="en-US" sz="2000">
                <a:solidFill>
                  <a:schemeClr val="bg1"/>
                </a:solidFill>
              </a:rPr>
            </a:br>
            <a:r>
              <a:rPr lang="en-US" sz="2000">
                <a:solidFill>
                  <a:schemeClr val="bg1"/>
                </a:solidFill>
              </a:rPr>
              <a:t>first choice for deploying apps </a:t>
            </a:r>
            <a:br>
              <a:rPr lang="en-US" sz="2000">
                <a:solidFill>
                  <a:schemeClr val="bg1"/>
                </a:solidFill>
              </a:rPr>
            </a:br>
            <a:r>
              <a:rPr lang="en-US" sz="2000">
                <a:solidFill>
                  <a:schemeClr val="bg1"/>
                </a:solidFill>
              </a:rPr>
              <a:t>in your organization</a:t>
            </a:r>
          </a:p>
        </p:txBody>
      </p:sp>
      <p:pic>
        <p:nvPicPr>
          <p:cNvPr id="21" name="Graphic 20" descr="Information with solid fill">
            <a:extLst>
              <a:ext uri="{FF2B5EF4-FFF2-40B4-BE49-F238E27FC236}">
                <a16:creationId xmlns:a16="http://schemas.microsoft.com/office/drawing/2014/main" id="{D7D7EF8F-C283-D229-D033-4812A392B8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31809" y="4411304"/>
            <a:ext cx="328448" cy="32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2024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0035F-A733-44E9-BBE7-04C12319F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9AD849-8C1B-8E74-260D-C3CABE4451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rcRect t="13579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F5F89D5E-9375-674A-1089-D5E6E308B12D}"/>
              </a:ext>
            </a:extLst>
          </p:cNvPr>
          <p:cNvSpPr/>
          <p:nvPr/>
        </p:nvSpPr>
        <p:spPr>
          <a:xfrm>
            <a:off x="853441" y="1077534"/>
            <a:ext cx="10785252" cy="4739065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0AC940E6-7815-CB7A-C6F4-F37C26C766DD}"/>
              </a:ext>
            </a:extLst>
          </p:cNvPr>
          <p:cNvSpPr/>
          <p:nvPr/>
        </p:nvSpPr>
        <p:spPr>
          <a:xfrm>
            <a:off x="1066800" y="1305560"/>
            <a:ext cx="10387274" cy="4246879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E4285B-4AFD-F61D-8CF3-37EAA6C7C1B1}"/>
              </a:ext>
            </a:extLst>
          </p:cNvPr>
          <p:cNvSpPr txBox="1"/>
          <p:nvPr/>
        </p:nvSpPr>
        <p:spPr>
          <a:xfrm>
            <a:off x="1656080" y="2042069"/>
            <a:ext cx="947899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bg1"/>
                </a:solidFill>
                <a:effectLst/>
              </a:rPr>
              <a:t>Adding 50-100 new, customer requested, apps per month</a:t>
            </a:r>
            <a:br>
              <a:rPr lang="en-US" sz="2000">
                <a:solidFill>
                  <a:schemeClr val="bg1"/>
                </a:solidFill>
                <a:effectLst/>
              </a:rPr>
            </a:br>
            <a:endParaRPr lang="en-US" sz="2000">
              <a:solidFill>
                <a:schemeClr val="bg1"/>
              </a:solidFill>
              <a:effectLst/>
            </a:endParaRPr>
          </a:p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bg1"/>
                </a:solidFill>
                <a:effectLst/>
              </a:rPr>
              <a:t>Adding updates to our catalog the same day the vendor releases a newer version of an app</a:t>
            </a:r>
            <a:br>
              <a:rPr lang="en-US" sz="2000">
                <a:solidFill>
                  <a:schemeClr val="bg1"/>
                </a:solidFill>
                <a:effectLst/>
              </a:rPr>
            </a:br>
            <a:endParaRPr lang="en-US" sz="2000">
              <a:solidFill>
                <a:schemeClr val="bg1"/>
              </a:solidFill>
              <a:effectLst/>
            </a:endParaRPr>
          </a:p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bg1"/>
                </a:solidFill>
                <a:effectLst/>
              </a:rPr>
              <a:t>Human and automation testing to ensure new apps update as expected</a:t>
            </a:r>
            <a:br>
              <a:rPr lang="en-US" sz="2000">
                <a:solidFill>
                  <a:schemeClr val="bg1"/>
                </a:solidFill>
                <a:effectLst/>
              </a:rPr>
            </a:br>
            <a:endParaRPr lang="en-US" sz="2000">
              <a:solidFill>
                <a:schemeClr val="bg1"/>
              </a:solidFill>
              <a:effectLst/>
            </a:endParaRPr>
          </a:p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bg1"/>
                </a:solidFill>
                <a:effectLst/>
              </a:rPr>
              <a:t>Dedicated catalog team ensuring a level of quality and confidence that crowdsourced catalogs cannot provide</a:t>
            </a:r>
          </a:p>
        </p:txBody>
      </p:sp>
    </p:spTree>
    <p:extLst>
      <p:ext uri="{BB962C8B-B14F-4D97-AF65-F5344CB8AC3E}">
        <p14:creationId xmlns:p14="http://schemas.microsoft.com/office/powerpoint/2010/main" val="1199115347"/>
      </p:ext>
    </p:extLst>
  </p:cSld>
  <p:clrMapOvr>
    <a:masterClrMapping/>
  </p:clrMapOvr>
  <p:transition spd="slow" advTm="2056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6AC08-D63D-D40F-CE6E-903996B46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!!BG">
            <a:extLst>
              <a:ext uri="{FF2B5EF4-FFF2-40B4-BE49-F238E27FC236}">
                <a16:creationId xmlns:a16="http://schemas.microsoft.com/office/drawing/2014/main" id="{1FC188BB-F851-97D2-C51C-A73DDD3C71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993760" y="468455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3AA516E-CB0B-D250-AC85-189C68D72CD6}"/>
              </a:ext>
            </a:extLst>
          </p:cNvPr>
          <p:cNvSpPr txBox="1"/>
          <p:nvPr/>
        </p:nvSpPr>
        <p:spPr>
          <a:xfrm>
            <a:off x="666634" y="638194"/>
            <a:ext cx="4692869" cy="17543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+mj-lt"/>
              </a:rPr>
              <a:t>Advanced </a:t>
            </a:r>
            <a:r>
              <a:rPr lang="en-US" sz="5400" b="1">
                <a:solidFill>
                  <a:schemeClr val="bg2"/>
                </a:solidFill>
                <a:latin typeface="+mj-lt"/>
              </a:rPr>
              <a:t>Insights</a:t>
            </a:r>
            <a:endParaRPr lang="en-US" sz="5400">
              <a:solidFill>
                <a:schemeClr val="bg2"/>
              </a:solidFill>
              <a:latin typeface="+mj-lt"/>
              <a:cs typeface="Poppi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EF4E16-9707-C0C5-0D38-54873269ED8D}"/>
              </a:ext>
            </a:extLst>
          </p:cNvPr>
          <p:cNvSpPr txBox="1"/>
          <p:nvPr/>
        </p:nvSpPr>
        <p:spPr>
          <a:xfrm>
            <a:off x="707278" y="5065378"/>
            <a:ext cx="2515432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Best choice for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D02929-BBDB-B9A6-4023-793C4E71E5B1}"/>
              </a:ext>
            </a:extLst>
          </p:cNvPr>
          <p:cNvSpPr txBox="1"/>
          <p:nvPr/>
        </p:nvSpPr>
        <p:spPr>
          <a:xfrm>
            <a:off x="707278" y="5527043"/>
            <a:ext cx="4009431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bg2"/>
                </a:solidFill>
              </a:rPr>
              <a:t>Microsoft </a:t>
            </a:r>
            <a:r>
              <a:rPr lang="en-US" sz="1600" err="1">
                <a:solidFill>
                  <a:schemeClr val="bg2"/>
                </a:solidFill>
              </a:rPr>
              <a:t>ConfigMgr</a:t>
            </a:r>
            <a:r>
              <a:rPr lang="en-US" sz="1600">
                <a:solidFill>
                  <a:schemeClr val="bg2"/>
                </a:solidFill>
              </a:rPr>
              <a:t> environments</a:t>
            </a:r>
            <a:endParaRPr lang="en-US" sz="1600">
              <a:solidFill>
                <a:schemeClr val="bg2"/>
              </a:solidFill>
              <a:cs typeface="Poppin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2776A3-EA2E-36A7-93F3-EEE12B6E6A19}"/>
              </a:ext>
            </a:extLst>
          </p:cNvPr>
          <p:cNvCxnSpPr>
            <a:cxnSpLocks/>
          </p:cNvCxnSpPr>
          <p:nvPr/>
        </p:nvCxnSpPr>
        <p:spPr>
          <a:xfrm>
            <a:off x="819038" y="4915854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74D14B-A2EA-68A4-5103-6314C74123E2}"/>
              </a:ext>
            </a:extLst>
          </p:cNvPr>
          <p:cNvSpPr txBox="1"/>
          <p:nvPr/>
        </p:nvSpPr>
        <p:spPr>
          <a:xfrm>
            <a:off x="691154" y="2486867"/>
            <a:ext cx="4406685" cy="132343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is a powerful solution designed to give you invaluable insights and compliance reporting for your </a:t>
            </a:r>
            <a:r>
              <a:rPr lang="en-US" sz="2000" err="1">
                <a:solidFill>
                  <a:schemeClr val="bg1"/>
                </a:solidFill>
              </a:rPr>
              <a:t>organization</a:t>
            </a:r>
            <a:endParaRPr lang="en-US" sz="160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4FC0F4E-D5E6-EA23-56D8-2ED79FFD92E9}"/>
              </a:ext>
            </a:extLst>
          </p:cNvPr>
          <p:cNvSpPr/>
          <p:nvPr/>
        </p:nvSpPr>
        <p:spPr>
          <a:xfrm>
            <a:off x="6555231" y="637744"/>
            <a:ext cx="4803452" cy="4133208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0BA9867-2FBF-44FF-2FEC-FD8B873CC361}"/>
              </a:ext>
            </a:extLst>
          </p:cNvPr>
          <p:cNvSpPr/>
          <p:nvPr/>
        </p:nvSpPr>
        <p:spPr>
          <a:xfrm>
            <a:off x="6782803" y="797409"/>
            <a:ext cx="4328281" cy="3740780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FFE89542-35C8-7F97-6D8D-F0272A9BC137}"/>
              </a:ext>
            </a:extLst>
          </p:cNvPr>
          <p:cNvSpPr/>
          <p:nvPr/>
        </p:nvSpPr>
        <p:spPr>
          <a:xfrm>
            <a:off x="6341221" y="4915854"/>
            <a:ext cx="5143501" cy="1403809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3100A94-6425-7FCF-CCFE-D4A01AC68F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7112" y="869649"/>
            <a:ext cx="4108148" cy="3508738"/>
          </a:xfrm>
          <a:prstGeom prst="rect">
            <a:avLst/>
          </a:prstGeom>
        </p:spPr>
      </p:pic>
      <p:sp>
        <p:nvSpPr>
          <p:cNvPr id="19" name="Google Shape;1938;p44">
            <a:extLst>
              <a:ext uri="{FF2B5EF4-FFF2-40B4-BE49-F238E27FC236}">
                <a16:creationId xmlns:a16="http://schemas.microsoft.com/office/drawing/2014/main" id="{458776B7-2AFB-5F80-603B-A14D35B156C8}"/>
              </a:ext>
            </a:extLst>
          </p:cNvPr>
          <p:cNvSpPr txBox="1">
            <a:spLocks/>
          </p:cNvSpPr>
          <p:nvPr/>
        </p:nvSpPr>
        <p:spPr>
          <a:xfrm>
            <a:off x="6784482" y="5031705"/>
            <a:ext cx="1982520" cy="58473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 fontAlgn="base"/>
            <a:r>
              <a:rPr lang="en-US" sz="1100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Beautiful data &amp; streamlined reporting</a:t>
            </a:r>
          </a:p>
        </p:txBody>
      </p:sp>
      <p:sp>
        <p:nvSpPr>
          <p:cNvPr id="20" name="Google Shape;1938;p44">
            <a:extLst>
              <a:ext uri="{FF2B5EF4-FFF2-40B4-BE49-F238E27FC236}">
                <a16:creationId xmlns:a16="http://schemas.microsoft.com/office/drawing/2014/main" id="{614020B6-DC31-2136-21D8-DCE24C7070CE}"/>
              </a:ext>
            </a:extLst>
          </p:cNvPr>
          <p:cNvSpPr txBox="1">
            <a:spLocks/>
          </p:cNvSpPr>
          <p:nvPr/>
        </p:nvSpPr>
        <p:spPr>
          <a:xfrm>
            <a:off x="6784482" y="5664289"/>
            <a:ext cx="1982520" cy="58473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 fontAlgn="base"/>
            <a:r>
              <a:rPr lang="en-US" sz="1100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lear software update compliance reporting</a:t>
            </a:r>
          </a:p>
        </p:txBody>
      </p:sp>
      <p:sp>
        <p:nvSpPr>
          <p:cNvPr id="21" name="Google Shape;1938;p44">
            <a:extLst>
              <a:ext uri="{FF2B5EF4-FFF2-40B4-BE49-F238E27FC236}">
                <a16:creationId xmlns:a16="http://schemas.microsoft.com/office/drawing/2014/main" id="{CE7059A4-55F3-8087-2F27-1625D32B249D}"/>
              </a:ext>
            </a:extLst>
          </p:cNvPr>
          <p:cNvSpPr txBox="1">
            <a:spLocks/>
          </p:cNvSpPr>
          <p:nvPr/>
        </p:nvSpPr>
        <p:spPr>
          <a:xfrm>
            <a:off x="8962379" y="5031705"/>
            <a:ext cx="2831064" cy="58473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 fontAlgn="base"/>
            <a:r>
              <a:rPr lang="en-US" sz="1100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Better insights on your data, </a:t>
            </a:r>
            <a:br>
              <a:rPr lang="en-US" sz="1100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100" kern="0" spc="-2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cluding inventory management</a:t>
            </a:r>
          </a:p>
        </p:txBody>
      </p:sp>
      <p:sp>
        <p:nvSpPr>
          <p:cNvPr id="22" name="Google Shape;1938;p44">
            <a:extLst>
              <a:ext uri="{FF2B5EF4-FFF2-40B4-BE49-F238E27FC236}">
                <a16:creationId xmlns:a16="http://schemas.microsoft.com/office/drawing/2014/main" id="{EFDF7366-E655-2CA2-1905-E892E22A418E}"/>
              </a:ext>
            </a:extLst>
          </p:cNvPr>
          <p:cNvSpPr txBox="1">
            <a:spLocks/>
          </p:cNvSpPr>
          <p:nvPr/>
        </p:nvSpPr>
        <p:spPr>
          <a:xfrm>
            <a:off x="8985096" y="5664288"/>
            <a:ext cx="2370836" cy="58473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 fontAlgn="base"/>
            <a:r>
              <a:rPr lang="en-US" sz="1100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hreat analytics dashboard    &amp; CVE report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F75E0A-5206-B214-66E7-C19F777873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0554" y="5181776"/>
            <a:ext cx="276225" cy="2762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34E82B-9B19-DA43-FD02-AAA8F13AF3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4831" y="5181776"/>
            <a:ext cx="276225" cy="2762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13066D-AD4C-8A13-02A8-5CF833B093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5998" y="5816776"/>
            <a:ext cx="276225" cy="2762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4D8064-BEE9-02CF-45C8-74BD47484A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0554" y="5816776"/>
            <a:ext cx="276225" cy="27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846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4.16667E-7 1.11111E-6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4.16667E-7 1.48148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875E-6 1.11111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58333E-6 1.48148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9" grpId="0"/>
      <p:bldP spid="19" grpId="1"/>
      <p:bldP spid="20" grpId="0"/>
      <p:bldP spid="20" grpId="1"/>
      <p:bldP spid="21" grpId="0"/>
      <p:bldP spid="21" grpId="1"/>
      <p:bldP spid="22" grpId="0"/>
      <p:bldP spid="22" grpId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6A75F592-4B58-EC32-81E2-F292842F6F4C}"/>
              </a:ext>
            </a:extLst>
          </p:cNvPr>
          <p:cNvSpPr txBox="1"/>
          <p:nvPr/>
        </p:nvSpPr>
        <p:spPr>
          <a:xfrm>
            <a:off x="1964944" y="267051"/>
            <a:ext cx="973618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Valuable and accessible data </a:t>
            </a:r>
            <a:br>
              <a:rPr lang="en-US" sz="3200" b="1">
                <a:solidFill>
                  <a:schemeClr val="bg2"/>
                </a:solidFill>
              </a:rPr>
            </a:br>
            <a:r>
              <a:rPr lang="en-US" sz="3200" b="1">
                <a:solidFill>
                  <a:schemeClr val="bg1"/>
                </a:solidFill>
              </a:rPr>
              <a:t>through intuitive reporting</a:t>
            </a:r>
          </a:p>
        </p:txBody>
      </p:sp>
      <p:grpSp>
        <p:nvGrpSpPr>
          <p:cNvPr id="19" name="Groep 18" hidden="1">
            <a:extLst>
              <a:ext uri="{FF2B5EF4-FFF2-40B4-BE49-F238E27FC236}">
                <a16:creationId xmlns:a16="http://schemas.microsoft.com/office/drawing/2014/main" id="{9AE0E991-5FDC-8D3C-2E66-6D67640A8042}"/>
              </a:ext>
            </a:extLst>
          </p:cNvPr>
          <p:cNvGrpSpPr/>
          <p:nvPr/>
        </p:nvGrpSpPr>
        <p:grpSpPr>
          <a:xfrm>
            <a:off x="4466588" y="5165301"/>
            <a:ext cx="9261621" cy="5246735"/>
            <a:chOff x="577704" y="1346992"/>
            <a:chExt cx="10170688" cy="5761724"/>
          </a:xfrm>
        </p:grpSpPr>
        <p:pic>
          <p:nvPicPr>
            <p:cNvPr id="15" name="Picture 9">
              <a:extLst>
                <a:ext uri="{FF2B5EF4-FFF2-40B4-BE49-F238E27FC236}">
                  <a16:creationId xmlns:a16="http://schemas.microsoft.com/office/drawing/2014/main" id="{E67F1CE5-2BA3-68F3-6CC1-28C95A237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69412" y="2254940"/>
              <a:ext cx="7641214" cy="3887946"/>
            </a:xfrm>
            <a:prstGeom prst="rect">
              <a:avLst/>
            </a:prstGeom>
          </p:spPr>
        </p:pic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E93750FD-82F8-D924-CA5D-269FA9F0268A}"/>
                </a:ext>
              </a:extLst>
            </p:cNvPr>
            <p:cNvGrpSpPr/>
            <p:nvPr/>
          </p:nvGrpSpPr>
          <p:grpSpPr>
            <a:xfrm>
              <a:off x="577704" y="1346992"/>
              <a:ext cx="10170688" cy="5761724"/>
              <a:chOff x="577704" y="1464219"/>
              <a:chExt cx="10170688" cy="5761724"/>
            </a:xfrm>
          </p:grpSpPr>
          <p:pic>
            <p:nvPicPr>
              <p:cNvPr id="17" name="Afbeelding 16">
                <a:extLst>
                  <a:ext uri="{FF2B5EF4-FFF2-40B4-BE49-F238E27FC236}">
                    <a16:creationId xmlns:a16="http://schemas.microsoft.com/office/drawing/2014/main" id="{1C46D668-8DEF-5E3F-D4D3-B7575D8972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0904" t="10904" r="10904" b="10904"/>
              <a:stretch/>
            </p:blipFill>
            <p:spPr>
              <a:xfrm>
                <a:off x="577704" y="1464219"/>
                <a:ext cx="10170688" cy="576172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Rechthoek 17">
                <a:extLst>
                  <a:ext uri="{FF2B5EF4-FFF2-40B4-BE49-F238E27FC236}">
                    <a16:creationId xmlns:a16="http://schemas.microsoft.com/office/drawing/2014/main" id="{34892B17-AF4C-73C1-448B-5DD1A1209829}"/>
                  </a:ext>
                </a:extLst>
              </p:cNvPr>
              <p:cNvSpPr/>
              <p:nvPr/>
            </p:nvSpPr>
            <p:spPr>
              <a:xfrm>
                <a:off x="1852246" y="2372166"/>
                <a:ext cx="7658379" cy="3887946"/>
              </a:xfrm>
              <a:prstGeom prst="rect">
                <a:avLst/>
              </a:prstGeom>
              <a:solidFill>
                <a:schemeClr val="bg1">
                  <a:alpha val="0"/>
                </a:schemeClr>
              </a:solidFill>
              <a:ln w="571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</p:grp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46FBB58A-3C76-3F2D-6FA9-3CEE3B7BB4C7}"/>
              </a:ext>
            </a:extLst>
          </p:cNvPr>
          <p:cNvCxnSpPr>
            <a:cxnSpLocks/>
          </p:cNvCxnSpPr>
          <p:nvPr/>
        </p:nvCxnSpPr>
        <p:spPr>
          <a:xfrm>
            <a:off x="10994223" y="1569321"/>
            <a:ext cx="434970" cy="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Afbeelding 3" descr="Afbeelding met tekst, computer, schermopname, computer&#10;&#10;Automatisch gegenereerde beschrijving" hidden="1">
            <a:extLst>
              <a:ext uri="{FF2B5EF4-FFF2-40B4-BE49-F238E27FC236}">
                <a16:creationId xmlns:a16="http://schemas.microsoft.com/office/drawing/2014/main" id="{F0500613-B737-6276-E482-6966A81C501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8" t="11390" b="11390"/>
          <a:stretch/>
        </p:blipFill>
        <p:spPr>
          <a:xfrm>
            <a:off x="0" y="-1"/>
            <a:ext cx="10181378" cy="6858001"/>
          </a:xfrm>
          <a:prstGeom prst="rect">
            <a:avLst/>
          </a:prstGeom>
        </p:spPr>
      </p:pic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EF235609-9571-2F23-8065-5BC6F5691224}"/>
              </a:ext>
            </a:extLst>
          </p:cNvPr>
          <p:cNvSpPr/>
          <p:nvPr/>
        </p:nvSpPr>
        <p:spPr>
          <a:xfrm>
            <a:off x="-51365" y="2006877"/>
            <a:ext cx="7776173" cy="4212284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C4D45297-691E-22D9-52A3-5E70337119A3}"/>
              </a:ext>
            </a:extLst>
          </p:cNvPr>
          <p:cNvSpPr/>
          <p:nvPr/>
        </p:nvSpPr>
        <p:spPr>
          <a:xfrm>
            <a:off x="188746" y="2158242"/>
            <a:ext cx="7122861" cy="3794693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945F63-552A-7FDE-F77E-A1B9D4FB08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793" y="2357164"/>
            <a:ext cx="6801757" cy="34724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ECC7FB5-89BA-E997-F856-B3152F4C663D}"/>
              </a:ext>
            </a:extLst>
          </p:cNvPr>
          <p:cNvSpPr txBox="1"/>
          <p:nvPr/>
        </p:nvSpPr>
        <p:spPr>
          <a:xfrm>
            <a:off x="8342096" y="2626729"/>
            <a:ext cx="3359411" cy="317009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en-US" sz="2000">
                <a:solidFill>
                  <a:schemeClr val="bg1"/>
                </a:solidFill>
              </a:rPr>
              <a:t>This powerful tool transforms your data into dynamic, visually rich dashboards, offering everything from software and update compliance to detailed hardware and device insights, trend analysis, and threat detection</a:t>
            </a:r>
            <a:endParaRPr lang="en-US" sz="16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7417313"/>
      </p:ext>
    </p:extLst>
  </p:cSld>
  <p:clrMapOvr>
    <a:masterClrMapping/>
  </p:clrMapOvr>
  <p:transition spd="slow" advTm="3131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A150AC-4C66-1C0C-0B99-C5F638948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C66334C-4CA9-FCE2-3C4B-3428CAEFF956}"/>
              </a:ext>
            </a:extLst>
          </p:cNvPr>
          <p:cNvSpPr txBox="1"/>
          <p:nvPr/>
        </p:nvSpPr>
        <p:spPr>
          <a:xfrm>
            <a:off x="750191" y="410876"/>
            <a:ext cx="10877179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Advanced Insights - Features</a:t>
            </a:r>
            <a:endParaRPr lang="en-US" sz="200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7AE0EF1-EF57-54A7-B908-4FF0C77A5089}"/>
              </a:ext>
            </a:extLst>
          </p:cNvPr>
          <p:cNvSpPr/>
          <p:nvPr/>
        </p:nvSpPr>
        <p:spPr>
          <a:xfrm>
            <a:off x="7748933" y="3932283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hoek: afgeronde hoeken 61">
            <a:extLst>
              <a:ext uri="{FF2B5EF4-FFF2-40B4-BE49-F238E27FC236}">
                <a16:creationId xmlns:a16="http://schemas.microsoft.com/office/drawing/2014/main" id="{A39F2F2F-81F7-34F2-7B35-D7C595571F72}"/>
              </a:ext>
            </a:extLst>
          </p:cNvPr>
          <p:cNvSpPr/>
          <p:nvPr/>
        </p:nvSpPr>
        <p:spPr>
          <a:xfrm>
            <a:off x="7991739" y="3716097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6A127320-F478-7FC7-5C59-522CF0BC3E47}"/>
              </a:ext>
            </a:extLst>
          </p:cNvPr>
          <p:cNvSpPr/>
          <p:nvPr/>
        </p:nvSpPr>
        <p:spPr>
          <a:xfrm>
            <a:off x="4276744" y="3944380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hoek: afgeronde hoeken 61">
            <a:extLst>
              <a:ext uri="{FF2B5EF4-FFF2-40B4-BE49-F238E27FC236}">
                <a16:creationId xmlns:a16="http://schemas.microsoft.com/office/drawing/2014/main" id="{E98C489F-57B9-0B3E-BA46-846EF8A8D551}"/>
              </a:ext>
            </a:extLst>
          </p:cNvPr>
          <p:cNvSpPr/>
          <p:nvPr/>
        </p:nvSpPr>
        <p:spPr>
          <a:xfrm>
            <a:off x="4519550" y="3728194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6729861-AB54-1E39-D516-2003CF2B6FD3}"/>
              </a:ext>
            </a:extLst>
          </p:cNvPr>
          <p:cNvSpPr/>
          <p:nvPr/>
        </p:nvSpPr>
        <p:spPr>
          <a:xfrm>
            <a:off x="800100" y="3928495"/>
            <a:ext cx="3166957" cy="2411538"/>
          </a:xfrm>
          <a:prstGeom prst="roundRect">
            <a:avLst>
              <a:gd name="adj" fmla="val 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hoek: afgeronde hoeken 61">
            <a:extLst>
              <a:ext uri="{FF2B5EF4-FFF2-40B4-BE49-F238E27FC236}">
                <a16:creationId xmlns:a16="http://schemas.microsoft.com/office/drawing/2014/main" id="{5FEAD2B8-9BC9-5258-B911-BB75ED9562AB}"/>
              </a:ext>
            </a:extLst>
          </p:cNvPr>
          <p:cNvSpPr/>
          <p:nvPr/>
        </p:nvSpPr>
        <p:spPr>
          <a:xfrm>
            <a:off x="1042906" y="3712309"/>
            <a:ext cx="3042567" cy="2790838"/>
          </a:xfrm>
          <a:prstGeom prst="roundRect">
            <a:avLst>
              <a:gd name="adj" fmla="val 3653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961264-EDA8-3842-BE6C-FBA64EAF3905}"/>
              </a:ext>
            </a:extLst>
          </p:cNvPr>
          <p:cNvSpPr txBox="1"/>
          <p:nvPr/>
        </p:nvSpPr>
        <p:spPr>
          <a:xfrm>
            <a:off x="1033374" y="5069378"/>
            <a:ext cx="2491117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Drill down into device warranties from HP, Dell, Lenovo, and other vendors for proactive replacement insights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C059FF-4E86-0D9F-2BB4-3333652592D8}"/>
              </a:ext>
            </a:extLst>
          </p:cNvPr>
          <p:cNvSpPr txBox="1"/>
          <p:nvPr/>
        </p:nvSpPr>
        <p:spPr>
          <a:xfrm>
            <a:off x="1033374" y="4419821"/>
            <a:ext cx="18189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FFFFFF"/>
                </a:solidFill>
              </a:rPr>
              <a:t>Warranty</a:t>
            </a:r>
            <a:endParaRPr lang="en-GB" sz="1600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C7E3A4-8511-24CD-A659-4DF7D5C2AB26}"/>
              </a:ext>
            </a:extLst>
          </p:cNvPr>
          <p:cNvSpPr txBox="1"/>
          <p:nvPr/>
        </p:nvSpPr>
        <p:spPr>
          <a:xfrm>
            <a:off x="4430669" y="4236974"/>
            <a:ext cx="1823460" cy="5312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</a:rPr>
              <a:t>Software &amp; Hardware</a:t>
            </a:r>
            <a:endParaRPr lang="en-US" sz="1600" i="0">
              <a:solidFill>
                <a:srgbClr val="FFFFFF"/>
              </a:solidFill>
              <a:effectLst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67162AD-7E04-AACC-A093-55A4EAD901E3}"/>
              </a:ext>
            </a:extLst>
          </p:cNvPr>
          <p:cNvSpPr txBox="1"/>
          <p:nvPr/>
        </p:nvSpPr>
        <p:spPr>
          <a:xfrm>
            <a:off x="4427639" y="5008926"/>
            <a:ext cx="2880998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</a:rPr>
              <a:t>Gain comprehensive visibility into installed applications and hardware health to enhance compliance, control, and strategic asset management</a:t>
            </a:r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FD4E53C-CC4E-DCCC-EB0B-3C24F8659C43}"/>
              </a:ext>
            </a:extLst>
          </p:cNvPr>
          <p:cNvSpPr txBox="1"/>
          <p:nvPr/>
        </p:nvSpPr>
        <p:spPr>
          <a:xfrm>
            <a:off x="7991198" y="4236377"/>
            <a:ext cx="2262107" cy="5312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Threat </a:t>
            </a:r>
            <a:endParaRPr lang="en-US">
              <a:latin typeface="Poppins"/>
              <a:cs typeface="Poppins"/>
            </a:endParaRPr>
          </a:p>
          <a:p>
            <a:pPr algn="l">
              <a:lnSpc>
                <a:spcPts val="1680"/>
              </a:lnSpc>
              <a:buNone/>
            </a:pPr>
            <a:r>
              <a:rPr lang="en-US" sz="1600" b="1" i="0">
                <a:solidFill>
                  <a:srgbClr val="FFFFFF"/>
                </a:solidFill>
                <a:effectLst/>
                <a:latin typeface="Poppins"/>
                <a:cs typeface="Poppins"/>
              </a:rPr>
              <a:t>Analytics</a:t>
            </a:r>
            <a:endParaRPr lang="en-US">
              <a:latin typeface="Poppins"/>
              <a:cs typeface="Poppin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E8FB77-89E1-875B-7117-002C04D61D20}"/>
              </a:ext>
            </a:extLst>
          </p:cNvPr>
          <p:cNvSpPr txBox="1"/>
          <p:nvPr/>
        </p:nvSpPr>
        <p:spPr>
          <a:xfrm>
            <a:off x="7991198" y="5069378"/>
            <a:ext cx="2182949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Bef>
                <a:spcPts val="1800"/>
              </a:spcBef>
            </a:pPr>
            <a:r>
              <a:rPr lang="en-US" sz="1200" i="0">
                <a:solidFill>
                  <a:schemeClr val="bg1"/>
                </a:solidFill>
                <a:effectLst/>
              </a:rPr>
              <a:t>Instantly identify risks from outdated software to strengthen security</a:t>
            </a:r>
            <a:endParaRPr lang="en-US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905F23A5-89C6-7E5B-5BA4-B5093DA44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01450" y="4325036"/>
            <a:ext cx="435487" cy="377422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0505C172-D890-A069-8B1D-44B5024A42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93395" y="4279060"/>
            <a:ext cx="412138" cy="41213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54027-D8B7-0EA5-9D7D-16A83E6D81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38776" y="4124361"/>
            <a:ext cx="537322" cy="537322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D0C7AE84-27ED-4949-6858-7578FA705727}"/>
              </a:ext>
            </a:extLst>
          </p:cNvPr>
          <p:cNvGrpSpPr/>
          <p:nvPr/>
        </p:nvGrpSpPr>
        <p:grpSpPr>
          <a:xfrm>
            <a:off x="798833" y="762356"/>
            <a:ext cx="3292428" cy="2790838"/>
            <a:chOff x="798833" y="882300"/>
            <a:chExt cx="3292428" cy="2790838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04450288-AB0B-E8D0-9799-32560F1804E0}"/>
                </a:ext>
              </a:extLst>
            </p:cNvPr>
            <p:cNvSpPr/>
            <p:nvPr/>
          </p:nvSpPr>
          <p:spPr>
            <a:xfrm>
              <a:off x="798833" y="1561615"/>
              <a:ext cx="3166957" cy="1959983"/>
            </a:xfrm>
            <a:prstGeom prst="roundRect">
              <a:avLst>
                <a:gd name="adj" fmla="val 454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: afgeronde hoeken 61">
              <a:extLst>
                <a:ext uri="{FF2B5EF4-FFF2-40B4-BE49-F238E27FC236}">
                  <a16:creationId xmlns:a16="http://schemas.microsoft.com/office/drawing/2014/main" id="{F92803B6-4F06-A31F-E292-5D7F6AF186E0}"/>
                </a:ext>
              </a:extLst>
            </p:cNvPr>
            <p:cNvSpPr/>
            <p:nvPr/>
          </p:nvSpPr>
          <p:spPr>
            <a:xfrm>
              <a:off x="1048694" y="882300"/>
              <a:ext cx="3042567" cy="2790838"/>
            </a:xfrm>
            <a:prstGeom prst="roundRect">
              <a:avLst>
                <a:gd name="adj" fmla="val 3653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B3E5BBA-69D6-8A09-39E9-F61154AE3B35}"/>
                </a:ext>
              </a:extLst>
            </p:cNvPr>
            <p:cNvSpPr txBox="1"/>
            <p:nvPr/>
          </p:nvSpPr>
          <p:spPr>
            <a:xfrm>
              <a:off x="1039162" y="2582555"/>
              <a:ext cx="2262443" cy="6521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1200">
                  <a:solidFill>
                    <a:schemeClr val="bg1"/>
                  </a:solidFill>
                </a:rPr>
                <a:t>Effortlessly track and manage application update statuses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B7C3C29-92CA-975D-5E54-B6B5D5E1559C}"/>
                </a:ext>
              </a:extLst>
            </p:cNvPr>
            <p:cNvSpPr txBox="1"/>
            <p:nvPr/>
          </p:nvSpPr>
          <p:spPr>
            <a:xfrm>
              <a:off x="1039162" y="1784831"/>
              <a:ext cx="181890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>
                  <a:solidFill>
                    <a:srgbClr val="FFFFFF"/>
                  </a:solidFill>
                </a:rPr>
                <a:t>Software Updates</a:t>
              </a:r>
              <a:endParaRPr lang="en-GB" sz="1600">
                <a:solidFill>
                  <a:srgbClr val="FFFFFF"/>
                </a:solidFill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E6CE283C-E61D-2295-0E7A-C819E0E6E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31060" y="1783185"/>
              <a:ext cx="394625" cy="394625"/>
            </a:xfrm>
            <a:prstGeom prst="rect">
              <a:avLst/>
            </a:prstGeom>
          </p:spPr>
        </p:pic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85E3223-9BE5-7F1E-8833-1A1A3F9FC1A1}"/>
                </a:ext>
              </a:extLst>
            </p:cNvPr>
            <p:cNvCxnSpPr>
              <a:cxnSpLocks/>
            </p:cNvCxnSpPr>
            <p:nvPr/>
          </p:nvCxnSpPr>
          <p:spPr>
            <a:xfrm>
              <a:off x="1154931" y="2473163"/>
              <a:ext cx="61468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06E49C-2A75-925E-87EE-724EEB66D567}"/>
              </a:ext>
            </a:extLst>
          </p:cNvPr>
          <p:cNvGrpSpPr/>
          <p:nvPr/>
        </p:nvGrpSpPr>
        <p:grpSpPr>
          <a:xfrm>
            <a:off x="4275477" y="778241"/>
            <a:ext cx="3464694" cy="2790838"/>
            <a:chOff x="4275477" y="898185"/>
            <a:chExt cx="3464694" cy="2790838"/>
          </a:xfrm>
        </p:grpSpPr>
        <p:sp>
          <p:nvSpPr>
            <p:cNvPr id="42" name="Rounded Rectangle 41">
              <a:extLst>
                <a:ext uri="{FF2B5EF4-FFF2-40B4-BE49-F238E27FC236}">
                  <a16:creationId xmlns:a16="http://schemas.microsoft.com/office/drawing/2014/main" id="{1ECCBF1F-47E4-B792-DBA2-86BB3C896A30}"/>
                </a:ext>
              </a:extLst>
            </p:cNvPr>
            <p:cNvSpPr/>
            <p:nvPr/>
          </p:nvSpPr>
          <p:spPr>
            <a:xfrm>
              <a:off x="4275477" y="1563389"/>
              <a:ext cx="3166957" cy="1967039"/>
            </a:xfrm>
            <a:prstGeom prst="roundRect">
              <a:avLst>
                <a:gd name="adj" fmla="val 454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hthoek: afgeronde hoeken 61">
              <a:extLst>
                <a:ext uri="{FF2B5EF4-FFF2-40B4-BE49-F238E27FC236}">
                  <a16:creationId xmlns:a16="http://schemas.microsoft.com/office/drawing/2014/main" id="{F5E4B00D-7AEF-F78C-1EAB-9F76512811F3}"/>
                </a:ext>
              </a:extLst>
            </p:cNvPr>
            <p:cNvSpPr/>
            <p:nvPr/>
          </p:nvSpPr>
          <p:spPr>
            <a:xfrm>
              <a:off x="4525338" y="898185"/>
              <a:ext cx="3042567" cy="2790838"/>
            </a:xfrm>
            <a:prstGeom prst="roundRect">
              <a:avLst>
                <a:gd name="adj" fmla="val 3653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EEC1A0A-AE8E-B3FA-59F4-757E7915A2B2}"/>
                </a:ext>
              </a:extLst>
            </p:cNvPr>
            <p:cNvSpPr txBox="1"/>
            <p:nvPr/>
          </p:nvSpPr>
          <p:spPr>
            <a:xfrm>
              <a:off x="4499957" y="1912428"/>
              <a:ext cx="3240214" cy="3132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ts val="1680"/>
                </a:lnSpc>
                <a:buNone/>
              </a:pPr>
              <a:r>
                <a:rPr lang="en-US" sz="1600" b="1" i="0">
                  <a:solidFill>
                    <a:srgbClr val="FFFFFF"/>
                  </a:solidFill>
                  <a:effectLst/>
                </a:rPr>
                <a:t>OS Deployment</a:t>
              </a:r>
              <a:endParaRPr lang="en-US" sz="1600" i="0">
                <a:solidFill>
                  <a:srgbClr val="FFFFFF"/>
                </a:solidFill>
                <a:effectLst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41E098C0-11A9-95A3-207C-202B93FBE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858524" y="1788303"/>
              <a:ext cx="421891" cy="42189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E3B3008-CC74-7D98-A948-C248EF51D053}"/>
                </a:ext>
              </a:extLst>
            </p:cNvPr>
            <p:cNvSpPr txBox="1"/>
            <p:nvPr/>
          </p:nvSpPr>
          <p:spPr>
            <a:xfrm>
              <a:off x="4499957" y="2568444"/>
              <a:ext cx="2626512" cy="64633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Bef>
                  <a:spcPts val="1800"/>
                </a:spcBef>
              </a:pPr>
              <a:r>
                <a:rPr lang="en-US" sz="1200" i="0">
                  <a:solidFill>
                    <a:schemeClr val="bg1"/>
                  </a:solidFill>
                  <a:effectLst/>
                </a:rPr>
                <a:t>Simplify and monitor OS deployment progress across your organization</a:t>
              </a:r>
              <a:endParaRPr lang="en-US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2B4410D2-E261-B833-8D1E-B0AF1F0C740C}"/>
                </a:ext>
              </a:extLst>
            </p:cNvPr>
            <p:cNvCxnSpPr>
              <a:cxnSpLocks/>
            </p:cNvCxnSpPr>
            <p:nvPr/>
          </p:nvCxnSpPr>
          <p:spPr>
            <a:xfrm>
              <a:off x="4605098" y="2388496"/>
              <a:ext cx="61468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2EB81E1-752A-1AB7-F527-C31D6A7EF325}"/>
              </a:ext>
            </a:extLst>
          </p:cNvPr>
          <p:cNvGrpSpPr/>
          <p:nvPr/>
        </p:nvGrpSpPr>
        <p:grpSpPr>
          <a:xfrm>
            <a:off x="7747666" y="766144"/>
            <a:ext cx="3292428" cy="2790838"/>
            <a:chOff x="7747666" y="886088"/>
            <a:chExt cx="3292428" cy="2790838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A63BCEFB-F6B9-0E52-4A00-0DF083DB13C2}"/>
                </a:ext>
              </a:extLst>
            </p:cNvPr>
            <p:cNvSpPr/>
            <p:nvPr/>
          </p:nvSpPr>
          <p:spPr>
            <a:xfrm>
              <a:off x="7747666" y="1558347"/>
              <a:ext cx="3166957" cy="1967039"/>
            </a:xfrm>
            <a:prstGeom prst="roundRect">
              <a:avLst>
                <a:gd name="adj" fmla="val 454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hthoek: afgeronde hoeken 61">
              <a:extLst>
                <a:ext uri="{FF2B5EF4-FFF2-40B4-BE49-F238E27FC236}">
                  <a16:creationId xmlns:a16="http://schemas.microsoft.com/office/drawing/2014/main" id="{C07BDF83-F294-C541-D3B6-8EA371C9C1C4}"/>
                </a:ext>
              </a:extLst>
            </p:cNvPr>
            <p:cNvSpPr/>
            <p:nvPr/>
          </p:nvSpPr>
          <p:spPr>
            <a:xfrm>
              <a:off x="7997527" y="886088"/>
              <a:ext cx="3042567" cy="2790838"/>
            </a:xfrm>
            <a:prstGeom prst="roundRect">
              <a:avLst>
                <a:gd name="adj" fmla="val 3653"/>
              </a:avLst>
            </a:prstGeom>
            <a:solidFill>
              <a:schemeClr val="bg1">
                <a:alpha val="0"/>
              </a:schemeClr>
            </a:solidFill>
            <a:ln w="15875">
              <a:gradFill>
                <a:gsLst>
                  <a:gs pos="0">
                    <a:schemeClr val="bg2"/>
                  </a:gs>
                  <a:gs pos="12000">
                    <a:schemeClr val="bg2">
                      <a:alpha val="0"/>
                    </a:schemeClr>
                  </a:gs>
                </a:gsLst>
                <a:lin ang="13200000" scaled="0"/>
              </a:gradFill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F31030-2B8C-AB19-279E-D16A14D14368}"/>
                </a:ext>
              </a:extLst>
            </p:cNvPr>
            <p:cNvSpPr txBox="1"/>
            <p:nvPr/>
          </p:nvSpPr>
          <p:spPr>
            <a:xfrm>
              <a:off x="7996986" y="1827164"/>
              <a:ext cx="2262107" cy="5312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ts val="1680"/>
                </a:lnSpc>
                <a:buNone/>
              </a:pPr>
              <a:r>
                <a:rPr lang="en-US" sz="1600" b="1" i="0">
                  <a:solidFill>
                    <a:srgbClr val="FFFFFF"/>
                  </a:solidFill>
                  <a:effectLst/>
                </a:rPr>
                <a:t>Security &amp; Compliance</a:t>
              </a:r>
              <a:endParaRPr lang="en-US" sz="1600" i="0">
                <a:solidFill>
                  <a:srgbClr val="FFFFFF"/>
                </a:solidFill>
                <a:effectLst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9113C34-D523-316C-676D-ACC7659255D4}"/>
                </a:ext>
              </a:extLst>
            </p:cNvPr>
            <p:cNvSpPr txBox="1"/>
            <p:nvPr/>
          </p:nvSpPr>
          <p:spPr>
            <a:xfrm>
              <a:off x="7996986" y="2624888"/>
              <a:ext cx="285428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Bef>
                  <a:spcPts val="1800"/>
                </a:spcBef>
              </a:pPr>
              <a:r>
                <a:rPr lang="en-US" sz="1200" i="0">
                  <a:solidFill>
                    <a:schemeClr val="bg1"/>
                  </a:solidFill>
                  <a:effectLst/>
                </a:rPr>
                <a:t>Easily check compliance levels and security statuses in one place</a:t>
              </a:r>
              <a:endParaRPr lang="en-US"/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3A9E7CEA-1598-6687-3C24-F690D3869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256414" y="1754952"/>
              <a:ext cx="489887" cy="48988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B485CBF-497F-604E-D757-2947250F83F9}"/>
                </a:ext>
              </a:extLst>
            </p:cNvPr>
            <p:cNvCxnSpPr>
              <a:cxnSpLocks/>
            </p:cNvCxnSpPr>
            <p:nvPr/>
          </p:nvCxnSpPr>
          <p:spPr>
            <a:xfrm>
              <a:off x="8090542" y="2480218"/>
              <a:ext cx="61468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38669A1-E456-7FF1-A150-E0C4DBF2FD89}"/>
              </a:ext>
            </a:extLst>
          </p:cNvPr>
          <p:cNvCxnSpPr>
            <a:cxnSpLocks/>
          </p:cNvCxnSpPr>
          <p:nvPr/>
        </p:nvCxnSpPr>
        <p:spPr>
          <a:xfrm>
            <a:off x="1154931" y="4872051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0D1460-C1D3-63BC-0754-60BBAC8931BC}"/>
              </a:ext>
            </a:extLst>
          </p:cNvPr>
          <p:cNvCxnSpPr>
            <a:cxnSpLocks/>
          </p:cNvCxnSpPr>
          <p:nvPr/>
        </p:nvCxnSpPr>
        <p:spPr>
          <a:xfrm>
            <a:off x="4527486" y="4907329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96266D-908D-E222-A022-36FF2DCB481E}"/>
              </a:ext>
            </a:extLst>
          </p:cNvPr>
          <p:cNvCxnSpPr>
            <a:cxnSpLocks/>
          </p:cNvCxnSpPr>
          <p:nvPr/>
        </p:nvCxnSpPr>
        <p:spPr>
          <a:xfrm>
            <a:off x="8090542" y="4907329"/>
            <a:ext cx="6146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81009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4039B6F4-D24F-61B4-AB80-E479540663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 flipH="1">
            <a:off x="2663285" y="-2670717"/>
            <a:ext cx="6859934" cy="121975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52C6D67C-8161-F81C-586E-6B89CEEDA75A}"/>
              </a:ext>
            </a:extLst>
          </p:cNvPr>
          <p:cNvSpPr txBox="1"/>
          <p:nvPr/>
        </p:nvSpPr>
        <p:spPr>
          <a:xfrm>
            <a:off x="512851" y="3038286"/>
            <a:ext cx="337107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r">
              <a:defRPr sz="24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algn="l"/>
            <a:r>
              <a:rPr lang="en-US"/>
              <a:t>The dashboard highlights the specific CVE risks in the software update environment</a:t>
            </a:r>
            <a:endParaRPr lang="nl-BE"/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834C3FF5-7048-14BA-BC1C-F6AA07DC26D2}"/>
              </a:ext>
            </a:extLst>
          </p:cNvPr>
          <p:cNvSpPr txBox="1"/>
          <p:nvPr/>
        </p:nvSpPr>
        <p:spPr>
          <a:xfrm>
            <a:off x="1688881" y="687299"/>
            <a:ext cx="3262559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nl-BE"/>
            </a:defPPr>
            <a:lvl1pPr lvl="0" algn="r">
              <a:defRPr sz="40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algn="l"/>
            <a:r>
              <a:rPr lang="en-US"/>
              <a:t>Threat Analytics</a:t>
            </a:r>
            <a:endParaRPr lang="nl-NL"/>
          </a:p>
        </p:txBody>
      </p:sp>
      <p:cxnSp>
        <p:nvCxnSpPr>
          <p:cNvPr id="14" name="!!LIJN_1">
            <a:extLst>
              <a:ext uri="{FF2B5EF4-FFF2-40B4-BE49-F238E27FC236}">
                <a16:creationId xmlns:a16="http://schemas.microsoft.com/office/drawing/2014/main" id="{A2E8546E-1206-CDBC-4755-C2F7B969F9A7}"/>
              </a:ext>
            </a:extLst>
          </p:cNvPr>
          <p:cNvCxnSpPr>
            <a:cxnSpLocks/>
          </p:cNvCxnSpPr>
          <p:nvPr/>
        </p:nvCxnSpPr>
        <p:spPr>
          <a:xfrm>
            <a:off x="434969" y="3122260"/>
            <a:ext cx="0" cy="17526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9E18F6E7-CF3B-C952-721F-47C634595A83}"/>
              </a:ext>
            </a:extLst>
          </p:cNvPr>
          <p:cNvSpPr/>
          <p:nvPr/>
        </p:nvSpPr>
        <p:spPr>
          <a:xfrm>
            <a:off x="4065309" y="1907942"/>
            <a:ext cx="7969623" cy="4429780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5EC02E5C-5E67-6501-AF5A-861F35CF6B75}"/>
              </a:ext>
            </a:extLst>
          </p:cNvPr>
          <p:cNvSpPr/>
          <p:nvPr/>
        </p:nvSpPr>
        <p:spPr>
          <a:xfrm>
            <a:off x="4249336" y="2081717"/>
            <a:ext cx="7600978" cy="4048693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331CB2-1F22-34E7-69F9-5D2FC2C445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275" y="2234300"/>
            <a:ext cx="7245312" cy="37190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A05DD22-E0F5-6942-3A3C-BA4EE7042E17}"/>
              </a:ext>
            </a:extLst>
          </p:cNvPr>
          <p:cNvSpPr txBox="1"/>
          <p:nvPr/>
        </p:nvSpPr>
        <p:spPr>
          <a:xfrm>
            <a:off x="1607551" y="371404"/>
            <a:ext cx="2422358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Feature Spotlight</a:t>
            </a:r>
            <a:endParaRPr lang="en-GB" sz="160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E9765EC-EE44-D969-E401-278F35C3B240}"/>
              </a:ext>
            </a:extLst>
          </p:cNvPr>
          <p:cNvGrpSpPr/>
          <p:nvPr/>
        </p:nvGrpSpPr>
        <p:grpSpPr>
          <a:xfrm>
            <a:off x="512851" y="387991"/>
            <a:ext cx="963084" cy="964132"/>
            <a:chOff x="489124" y="485772"/>
            <a:chExt cx="823114" cy="824010"/>
          </a:xfrm>
        </p:grpSpPr>
        <p:sp>
          <p:nvSpPr>
            <p:cNvPr id="13" name="Rechthoek: afgeronde hoeken 7">
              <a:extLst>
                <a:ext uri="{FF2B5EF4-FFF2-40B4-BE49-F238E27FC236}">
                  <a16:creationId xmlns:a16="http://schemas.microsoft.com/office/drawing/2014/main" id="{BA380545-DE35-A05F-5E95-538295AD8962}"/>
                </a:ext>
              </a:extLst>
            </p:cNvPr>
            <p:cNvSpPr/>
            <p:nvPr/>
          </p:nvSpPr>
          <p:spPr>
            <a:xfrm>
              <a:off x="489124" y="485772"/>
              <a:ext cx="823114" cy="824010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Lights On outline">
              <a:extLst>
                <a:ext uri="{FF2B5EF4-FFF2-40B4-BE49-F238E27FC236}">
                  <a16:creationId xmlns:a16="http://schemas.microsoft.com/office/drawing/2014/main" id="{0AC8BF2D-B731-37D6-4C1F-7C9361CD89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4090" y="630065"/>
              <a:ext cx="533183" cy="53318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935897933"/>
      </p:ext>
    </p:extLst>
  </p:cSld>
  <p:clrMapOvr>
    <a:masterClrMapping/>
  </p:clrMapOvr>
  <p:transition spd="slow" advTm="3819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4039B6F4-D24F-61B4-AB80-E479540663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 flipH="1">
            <a:off x="2663285" y="-2670717"/>
            <a:ext cx="6859934" cy="121975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1D30E894-F7AF-3FB0-DD63-7AB3AC4703A3}"/>
              </a:ext>
            </a:extLst>
          </p:cNvPr>
          <p:cNvSpPr txBox="1"/>
          <p:nvPr/>
        </p:nvSpPr>
        <p:spPr>
          <a:xfrm>
            <a:off x="743976" y="6045540"/>
            <a:ext cx="106512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r">
              <a:defRPr sz="24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algn="ctr"/>
            <a:r>
              <a:rPr lang="en-US"/>
              <a:t>Specific remediation actions are shown for vulnerabilities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86812081-9919-54A2-0706-4CF6D32BE9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30"/>
          <a:stretch/>
        </p:blipFill>
        <p:spPr>
          <a:xfrm>
            <a:off x="12317519" y="361949"/>
            <a:ext cx="11531195" cy="7690175"/>
          </a:xfrm>
          <a:prstGeom prst="rect">
            <a:avLst/>
          </a:prstGeom>
        </p:spPr>
      </p:pic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880FD203-7562-9822-582C-45E77D512F2E}"/>
              </a:ext>
            </a:extLst>
          </p:cNvPr>
          <p:cNvSpPr/>
          <p:nvPr/>
        </p:nvSpPr>
        <p:spPr>
          <a:xfrm>
            <a:off x="743975" y="361949"/>
            <a:ext cx="10651257" cy="5689227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1">
            <a:extLst>
              <a:ext uri="{FF2B5EF4-FFF2-40B4-BE49-F238E27FC236}">
                <a16:creationId xmlns:a16="http://schemas.microsoft.com/office/drawing/2014/main" id="{CCC9B320-6DBC-7A88-F342-A618117A0989}"/>
              </a:ext>
            </a:extLst>
          </p:cNvPr>
          <p:cNvSpPr/>
          <p:nvPr/>
        </p:nvSpPr>
        <p:spPr>
          <a:xfrm>
            <a:off x="995972" y="595050"/>
            <a:ext cx="10160946" cy="5198844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518766-2100-7AE1-BEDF-243CC35F0D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9003" y="817070"/>
            <a:ext cx="9553993" cy="4617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3004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 advTm="3392">
        <p159:morph option="byObject"/>
      </p:transition>
    </mc:Choice>
    <mc:Fallback xmlns="">
      <p:transition spd="med" advTm="339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4039B6F4-D24F-61B4-AB80-E479540663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 flipH="1">
            <a:off x="2663285" y="-2670717"/>
            <a:ext cx="6859934" cy="121975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1D30E894-F7AF-3FB0-DD63-7AB3AC4703A3}"/>
              </a:ext>
            </a:extLst>
          </p:cNvPr>
          <p:cNvSpPr txBox="1"/>
          <p:nvPr/>
        </p:nvSpPr>
        <p:spPr>
          <a:xfrm>
            <a:off x="347580" y="2706539"/>
            <a:ext cx="290192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r">
              <a:defRPr sz="24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algn="l"/>
            <a:r>
              <a:rPr lang="en-US"/>
              <a:t>Execute remediation in the console</a:t>
            </a:r>
          </a:p>
        </p:txBody>
      </p:sp>
      <p:cxnSp>
        <p:nvCxnSpPr>
          <p:cNvPr id="12" name="!!LIJN_3">
            <a:extLst>
              <a:ext uri="{FF2B5EF4-FFF2-40B4-BE49-F238E27FC236}">
                <a16:creationId xmlns:a16="http://schemas.microsoft.com/office/drawing/2014/main" id="{0186C186-2DC4-2C0E-D3DE-90CC04BE42A5}"/>
              </a:ext>
            </a:extLst>
          </p:cNvPr>
          <p:cNvCxnSpPr>
            <a:cxnSpLocks/>
          </p:cNvCxnSpPr>
          <p:nvPr/>
        </p:nvCxnSpPr>
        <p:spPr>
          <a:xfrm>
            <a:off x="271868" y="2783885"/>
            <a:ext cx="0" cy="1037761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!!SCREEN2">
            <a:extLst>
              <a:ext uri="{FF2B5EF4-FFF2-40B4-BE49-F238E27FC236}">
                <a16:creationId xmlns:a16="http://schemas.microsoft.com/office/drawing/2014/main" id="{2AAE9F31-E744-6209-0769-910D82E82F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" r="20"/>
          <a:stretch/>
        </p:blipFill>
        <p:spPr>
          <a:xfrm>
            <a:off x="12317519" y="361949"/>
            <a:ext cx="11533454" cy="7690175"/>
          </a:xfrm>
          <a:prstGeom prst="rect">
            <a:avLst/>
          </a:prstGeom>
        </p:spPr>
      </p:pic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4EB986B1-77A7-5071-192F-7FF6484462F2}"/>
              </a:ext>
            </a:extLst>
          </p:cNvPr>
          <p:cNvSpPr/>
          <p:nvPr/>
        </p:nvSpPr>
        <p:spPr>
          <a:xfrm>
            <a:off x="3249505" y="1162179"/>
            <a:ext cx="8840896" cy="4903090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1">
            <a:extLst>
              <a:ext uri="{FF2B5EF4-FFF2-40B4-BE49-F238E27FC236}">
                <a16:creationId xmlns:a16="http://schemas.microsoft.com/office/drawing/2014/main" id="{7A34343D-956E-8E65-7644-9C1901A7D2E2}"/>
              </a:ext>
            </a:extLst>
          </p:cNvPr>
          <p:cNvSpPr/>
          <p:nvPr/>
        </p:nvSpPr>
        <p:spPr>
          <a:xfrm>
            <a:off x="3461943" y="1376575"/>
            <a:ext cx="8419933" cy="4422467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9C2969-2C69-07D1-102E-B6B4593426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9746" y="1648218"/>
            <a:ext cx="7874176" cy="39310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3256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 advTm="3536">
        <p159:morph option="byObject"/>
      </p:transition>
    </mc:Choice>
    <mc:Fallback xmlns="">
      <p:transition spd="med" advTm="353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!!BG_blauw2">
            <a:extLst>
              <a:ext uri="{FF2B5EF4-FFF2-40B4-BE49-F238E27FC236}">
                <a16:creationId xmlns:a16="http://schemas.microsoft.com/office/drawing/2014/main" id="{CF83D151-9861-25F2-7F97-0A3DAE95592A}"/>
              </a:ext>
            </a:extLst>
          </p:cNvPr>
          <p:cNvGrpSpPr/>
          <p:nvPr/>
        </p:nvGrpSpPr>
        <p:grpSpPr>
          <a:xfrm>
            <a:off x="0" y="-55"/>
            <a:ext cx="12208711" cy="6858055"/>
            <a:chOff x="-16711" y="-55"/>
            <a:chExt cx="12208711" cy="6858055"/>
          </a:xfrm>
        </p:grpSpPr>
        <p:sp>
          <p:nvSpPr>
            <p:cNvPr id="62" name="Rechthoek 9">
              <a:extLst>
                <a:ext uri="{FF2B5EF4-FFF2-40B4-BE49-F238E27FC236}">
                  <a16:creationId xmlns:a16="http://schemas.microsoft.com/office/drawing/2014/main" id="{58DB89B7-1A60-7043-D81D-6C901E2D0428}"/>
                </a:ext>
              </a:extLst>
            </p:cNvPr>
            <p:cNvSpPr/>
            <p:nvPr/>
          </p:nvSpPr>
          <p:spPr>
            <a:xfrm>
              <a:off x="-16711" y="0"/>
              <a:ext cx="12208711" cy="6858000"/>
            </a:xfrm>
            <a:prstGeom prst="rect">
              <a:avLst/>
            </a:prstGeom>
            <a:solidFill>
              <a:srgbClr val="1515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64" name="Rechthoek 10">
              <a:extLst>
                <a:ext uri="{FF2B5EF4-FFF2-40B4-BE49-F238E27FC236}">
                  <a16:creationId xmlns:a16="http://schemas.microsoft.com/office/drawing/2014/main" id="{27045B19-8029-805B-3AEF-28AECFCC73E5}"/>
                </a:ext>
              </a:extLst>
            </p:cNvPr>
            <p:cNvSpPr/>
            <p:nvPr/>
          </p:nvSpPr>
          <p:spPr>
            <a:xfrm rot="10800000">
              <a:off x="-1" y="-55"/>
              <a:ext cx="12191999" cy="6858000"/>
            </a:xfrm>
            <a:prstGeom prst="rect">
              <a:avLst/>
            </a:prstGeom>
            <a:gradFill flip="none" rotWithShape="1">
              <a:gsLst>
                <a:gs pos="0">
                  <a:srgbClr val="006094">
                    <a:alpha val="72000"/>
                  </a:srgbClr>
                </a:gs>
                <a:gs pos="52000">
                  <a:srgbClr val="15152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31" name="Rechthoek: afgeronde hoeken 30">
            <a:extLst>
              <a:ext uri="{FF2B5EF4-FFF2-40B4-BE49-F238E27FC236}">
                <a16:creationId xmlns:a16="http://schemas.microsoft.com/office/drawing/2014/main" id="{8A06FF17-620E-FB6B-4500-3E72E6884F3A}"/>
              </a:ext>
            </a:extLst>
          </p:cNvPr>
          <p:cNvSpPr/>
          <p:nvPr/>
        </p:nvSpPr>
        <p:spPr>
          <a:xfrm flipH="1">
            <a:off x="-11944404" y="218049"/>
            <a:ext cx="5869424" cy="6421902"/>
          </a:xfrm>
          <a:prstGeom prst="roundRect">
            <a:avLst>
              <a:gd name="adj" fmla="val 1484"/>
            </a:avLst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2019" r="-32019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2" name="Rechthoek: afgeronde hoeken 31">
            <a:extLst>
              <a:ext uri="{FF2B5EF4-FFF2-40B4-BE49-F238E27FC236}">
                <a16:creationId xmlns:a16="http://schemas.microsoft.com/office/drawing/2014/main" id="{E8AD3C24-75BC-A924-2D11-DCF0ADE50208}"/>
              </a:ext>
            </a:extLst>
          </p:cNvPr>
          <p:cNvSpPr/>
          <p:nvPr/>
        </p:nvSpPr>
        <p:spPr>
          <a:xfrm>
            <a:off x="-7978990" y="190463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3" name="Rechthoek: afgeronde hoeken 32">
            <a:extLst>
              <a:ext uri="{FF2B5EF4-FFF2-40B4-BE49-F238E27FC236}">
                <a16:creationId xmlns:a16="http://schemas.microsoft.com/office/drawing/2014/main" id="{6E40F962-BE43-996E-195D-414ABCD18B56}"/>
              </a:ext>
            </a:extLst>
          </p:cNvPr>
          <p:cNvSpPr/>
          <p:nvPr/>
        </p:nvSpPr>
        <p:spPr>
          <a:xfrm>
            <a:off x="-5404872" y="190463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4" name="Rechthoek: afgeronde hoeken 33">
            <a:extLst>
              <a:ext uri="{FF2B5EF4-FFF2-40B4-BE49-F238E27FC236}">
                <a16:creationId xmlns:a16="http://schemas.microsoft.com/office/drawing/2014/main" id="{B5F4CF6A-55E8-A0E9-2D5F-1BBE355C6818}"/>
              </a:ext>
            </a:extLst>
          </p:cNvPr>
          <p:cNvSpPr/>
          <p:nvPr/>
        </p:nvSpPr>
        <p:spPr>
          <a:xfrm>
            <a:off x="-2830755" y="1904632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7" name="Rechthoek: afgeronde hoeken 36">
            <a:extLst>
              <a:ext uri="{FF2B5EF4-FFF2-40B4-BE49-F238E27FC236}">
                <a16:creationId xmlns:a16="http://schemas.microsoft.com/office/drawing/2014/main" id="{513D8D8B-4F8F-0E77-0109-20FE5FE319D6}"/>
              </a:ext>
            </a:extLst>
          </p:cNvPr>
          <p:cNvSpPr/>
          <p:nvPr/>
        </p:nvSpPr>
        <p:spPr>
          <a:xfrm>
            <a:off x="-7978990" y="4093931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id="{14CF6A0A-6693-91EE-35F2-953381DBF7F1}"/>
              </a:ext>
            </a:extLst>
          </p:cNvPr>
          <p:cNvSpPr/>
          <p:nvPr/>
        </p:nvSpPr>
        <p:spPr>
          <a:xfrm>
            <a:off x="-5404872" y="4093931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9" name="Rechthoek: afgeronde hoeken 38">
            <a:extLst>
              <a:ext uri="{FF2B5EF4-FFF2-40B4-BE49-F238E27FC236}">
                <a16:creationId xmlns:a16="http://schemas.microsoft.com/office/drawing/2014/main" id="{EC8EFB8C-F7F2-C7D9-4665-70C765804569}"/>
              </a:ext>
            </a:extLst>
          </p:cNvPr>
          <p:cNvSpPr/>
          <p:nvPr/>
        </p:nvSpPr>
        <p:spPr>
          <a:xfrm>
            <a:off x="-2830755" y="4093931"/>
            <a:ext cx="2350702" cy="1986235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45" name="Tekstvak 44">
            <a:extLst>
              <a:ext uri="{FF2B5EF4-FFF2-40B4-BE49-F238E27FC236}">
                <a16:creationId xmlns:a16="http://schemas.microsoft.com/office/drawing/2014/main" id="{CF4B36BE-B5CD-8FA8-3E89-8BAD05D42C84}"/>
              </a:ext>
            </a:extLst>
          </p:cNvPr>
          <p:cNvSpPr txBox="1"/>
          <p:nvPr/>
        </p:nvSpPr>
        <p:spPr>
          <a:xfrm>
            <a:off x="-4857538" y="2844225"/>
            <a:ext cx="15767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7500+</a:t>
            </a: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5B39D134-0F10-DEA3-1414-84E9064466F8}"/>
              </a:ext>
            </a:extLst>
          </p:cNvPr>
          <p:cNvSpPr txBox="1"/>
          <p:nvPr/>
        </p:nvSpPr>
        <p:spPr>
          <a:xfrm>
            <a:off x="-4921659" y="3321582"/>
            <a:ext cx="16408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customers</a:t>
            </a: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A0DEB193-E1E6-D8C4-2658-398D03A13B66}"/>
              </a:ext>
            </a:extLst>
          </p:cNvPr>
          <p:cNvSpPr txBox="1"/>
          <p:nvPr/>
        </p:nvSpPr>
        <p:spPr>
          <a:xfrm>
            <a:off x="-7429672" y="2844225"/>
            <a:ext cx="15767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2011</a:t>
            </a: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2AF366B3-A07F-6334-7A61-0E15D6CB19E2}"/>
              </a:ext>
            </a:extLst>
          </p:cNvPr>
          <p:cNvSpPr txBox="1"/>
          <p:nvPr/>
        </p:nvSpPr>
        <p:spPr>
          <a:xfrm>
            <a:off x="-7257546" y="3321582"/>
            <a:ext cx="14046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Start</a:t>
            </a:r>
          </a:p>
        </p:txBody>
      </p:sp>
      <p:sp>
        <p:nvSpPr>
          <p:cNvPr id="50" name="Tekstvak 49">
            <a:extLst>
              <a:ext uri="{FF2B5EF4-FFF2-40B4-BE49-F238E27FC236}">
                <a16:creationId xmlns:a16="http://schemas.microsoft.com/office/drawing/2014/main" id="{95749518-2C6D-809C-EA11-4490F6F28E54}"/>
              </a:ext>
            </a:extLst>
          </p:cNvPr>
          <p:cNvSpPr txBox="1"/>
          <p:nvPr/>
        </p:nvSpPr>
        <p:spPr>
          <a:xfrm>
            <a:off x="-3280804" y="2844225"/>
            <a:ext cx="25758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24 million</a:t>
            </a:r>
          </a:p>
        </p:txBody>
      </p:sp>
      <p:sp>
        <p:nvSpPr>
          <p:cNvPr id="51" name="Tekstvak 50">
            <a:extLst>
              <a:ext uri="{FF2B5EF4-FFF2-40B4-BE49-F238E27FC236}">
                <a16:creationId xmlns:a16="http://schemas.microsoft.com/office/drawing/2014/main" id="{48CB5642-AA56-041B-371F-9C61412A73B9}"/>
              </a:ext>
            </a:extLst>
          </p:cNvPr>
          <p:cNvSpPr txBox="1"/>
          <p:nvPr/>
        </p:nvSpPr>
        <p:spPr>
          <a:xfrm>
            <a:off x="-2438400" y="3321582"/>
            <a:ext cx="17334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endpoints</a:t>
            </a:r>
          </a:p>
        </p:txBody>
      </p:sp>
      <p:sp>
        <p:nvSpPr>
          <p:cNvPr id="54" name="Tekstvak 53">
            <a:extLst>
              <a:ext uri="{FF2B5EF4-FFF2-40B4-BE49-F238E27FC236}">
                <a16:creationId xmlns:a16="http://schemas.microsoft.com/office/drawing/2014/main" id="{0A82698B-D117-4634-3174-B0FD8DACA294}"/>
              </a:ext>
            </a:extLst>
          </p:cNvPr>
          <p:cNvSpPr txBox="1"/>
          <p:nvPr/>
        </p:nvSpPr>
        <p:spPr>
          <a:xfrm>
            <a:off x="-4466338" y="4762331"/>
            <a:ext cx="11855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120+</a:t>
            </a:r>
          </a:p>
        </p:txBody>
      </p:sp>
      <p:sp>
        <p:nvSpPr>
          <p:cNvPr id="55" name="Tekstvak 54">
            <a:extLst>
              <a:ext uri="{FF2B5EF4-FFF2-40B4-BE49-F238E27FC236}">
                <a16:creationId xmlns:a16="http://schemas.microsoft.com/office/drawing/2014/main" id="{5811BBFA-8C4F-0E40-213F-20D54246E9E9}"/>
              </a:ext>
            </a:extLst>
          </p:cNvPr>
          <p:cNvSpPr txBox="1"/>
          <p:nvPr/>
        </p:nvSpPr>
        <p:spPr>
          <a:xfrm>
            <a:off x="-4948644" y="5239688"/>
            <a:ext cx="16678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people &amp; </a:t>
            </a:r>
            <a:br>
              <a:rPr lang="en-US" sz="2000">
                <a:solidFill>
                  <a:schemeClr val="tx2"/>
                </a:solidFill>
              </a:rPr>
            </a:br>
            <a:r>
              <a:rPr lang="en-US" sz="2000">
                <a:solidFill>
                  <a:schemeClr val="tx2"/>
                </a:solidFill>
              </a:rPr>
              <a:t>growing</a:t>
            </a: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ABC8FC76-C3D7-796E-7AD5-04AD14A97030}"/>
              </a:ext>
            </a:extLst>
          </p:cNvPr>
          <p:cNvSpPr txBox="1"/>
          <p:nvPr/>
        </p:nvSpPr>
        <p:spPr>
          <a:xfrm>
            <a:off x="-7429672" y="5070107"/>
            <a:ext cx="15767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7</a:t>
            </a:r>
          </a:p>
        </p:txBody>
      </p:sp>
      <p:sp>
        <p:nvSpPr>
          <p:cNvPr id="57" name="Tekstvak 56">
            <a:extLst>
              <a:ext uri="{FF2B5EF4-FFF2-40B4-BE49-F238E27FC236}">
                <a16:creationId xmlns:a16="http://schemas.microsoft.com/office/drawing/2014/main" id="{1803D1E7-6398-6630-7B19-FB632D36616F}"/>
              </a:ext>
            </a:extLst>
          </p:cNvPr>
          <p:cNvSpPr txBox="1"/>
          <p:nvPr/>
        </p:nvSpPr>
        <p:spPr>
          <a:xfrm>
            <a:off x="-7257546" y="5547464"/>
            <a:ext cx="14046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MVPs</a:t>
            </a:r>
          </a:p>
        </p:txBody>
      </p:sp>
      <p:sp>
        <p:nvSpPr>
          <p:cNvPr id="59" name="Tekstvak 58">
            <a:extLst>
              <a:ext uri="{FF2B5EF4-FFF2-40B4-BE49-F238E27FC236}">
                <a16:creationId xmlns:a16="http://schemas.microsoft.com/office/drawing/2014/main" id="{4D500E44-BD25-F905-A1A7-51F8F965BFE7}"/>
              </a:ext>
            </a:extLst>
          </p:cNvPr>
          <p:cNvSpPr txBox="1"/>
          <p:nvPr/>
        </p:nvSpPr>
        <p:spPr>
          <a:xfrm>
            <a:off x="-3656372" y="4762331"/>
            <a:ext cx="29514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3200" b="1">
                <a:solidFill>
                  <a:schemeClr val="bg2"/>
                </a:solidFill>
              </a:rPr>
              <a:t>2000+</a:t>
            </a:r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2CBC90A2-E7BE-682B-31D3-6E0B11322DEE}"/>
              </a:ext>
            </a:extLst>
          </p:cNvPr>
          <p:cNvSpPr txBox="1"/>
          <p:nvPr/>
        </p:nvSpPr>
        <p:spPr>
          <a:xfrm>
            <a:off x="-2960047" y="5239688"/>
            <a:ext cx="225508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tx2"/>
                </a:solidFill>
              </a:rPr>
              <a:t>public apps </a:t>
            </a:r>
            <a:br>
              <a:rPr lang="en-US" sz="2000">
                <a:solidFill>
                  <a:schemeClr val="tx2"/>
                </a:solidFill>
              </a:rPr>
            </a:br>
            <a:r>
              <a:rPr lang="en-US" sz="2000">
                <a:solidFill>
                  <a:schemeClr val="tx2"/>
                </a:solidFill>
              </a:rPr>
              <a:t>in catalog</a:t>
            </a:r>
          </a:p>
        </p:txBody>
      </p:sp>
      <p:pic>
        <p:nvPicPr>
          <p:cNvPr id="63" name="Graphic 62">
            <a:extLst>
              <a:ext uri="{FF2B5EF4-FFF2-40B4-BE49-F238E27FC236}">
                <a16:creationId xmlns:a16="http://schemas.microsoft.com/office/drawing/2014/main" id="{5D81310B-74E8-B99A-665E-001ECD1337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7775247" y="2129106"/>
            <a:ext cx="622378" cy="622378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032273AF-3105-EF65-CC94-553EF5FB88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5144041" y="2129106"/>
            <a:ext cx="526628" cy="622378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A5848D0B-A3F9-8004-8241-5254F0E32B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2568195" y="2243757"/>
            <a:ext cx="639553" cy="504263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C5493761-A1C5-DEEE-E9B5-D626E05B7E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7771906" y="4424031"/>
            <a:ext cx="622164" cy="524569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1D7A528B-2FD3-D49D-7838-D5F459CF505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5182830" y="4350365"/>
            <a:ext cx="622164" cy="598235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5A12441A-23DD-B85F-1E2F-6BDACFB7BE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2551087" y="4382410"/>
            <a:ext cx="605269" cy="605269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0A9E3521-EDAC-9DA7-963D-678C0C22C181}"/>
              </a:ext>
            </a:extLst>
          </p:cNvPr>
          <p:cNvSpPr txBox="1"/>
          <p:nvPr/>
        </p:nvSpPr>
        <p:spPr>
          <a:xfrm>
            <a:off x="2515887" y="763411"/>
            <a:ext cx="716022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sz="4000" b="1" err="1">
                <a:solidFill>
                  <a:schemeClr val="bg1">
                    <a:lumMod val="95000"/>
                  </a:schemeClr>
                </a:solidFill>
              </a:rPr>
              <a:t>Some</a:t>
            </a:r>
            <a:r>
              <a:rPr lang="nl-BE" sz="4000" b="1">
                <a:solidFill>
                  <a:schemeClr val="bg1">
                    <a:lumMod val="95000"/>
                  </a:schemeClr>
                </a:solidFill>
              </a:rPr>
              <a:t> of </a:t>
            </a:r>
            <a:r>
              <a:rPr lang="nl-BE" sz="4000" b="1" err="1">
                <a:solidFill>
                  <a:schemeClr val="bg1">
                    <a:lumMod val="95000"/>
                  </a:schemeClr>
                </a:solidFill>
              </a:rPr>
              <a:t>our</a:t>
            </a:r>
            <a:r>
              <a:rPr lang="nl-BE" sz="4000" b="1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nl-BE" sz="4000" b="1" err="1">
                <a:solidFill>
                  <a:schemeClr val="bg2"/>
                </a:solidFill>
              </a:rPr>
              <a:t>customers</a:t>
            </a:r>
            <a:endParaRPr lang="nl-BE" sz="4000" b="1">
              <a:solidFill>
                <a:schemeClr val="bg2"/>
              </a:solidFill>
            </a:endParaRPr>
          </a:p>
        </p:txBody>
      </p:sp>
      <p:grpSp>
        <p:nvGrpSpPr>
          <p:cNvPr id="67" name="Groep 66">
            <a:extLst>
              <a:ext uri="{FF2B5EF4-FFF2-40B4-BE49-F238E27FC236}">
                <a16:creationId xmlns:a16="http://schemas.microsoft.com/office/drawing/2014/main" id="{1730D61F-32FD-F798-AC5C-4A11D19C9301}"/>
              </a:ext>
            </a:extLst>
          </p:cNvPr>
          <p:cNvGrpSpPr/>
          <p:nvPr/>
        </p:nvGrpSpPr>
        <p:grpSpPr>
          <a:xfrm>
            <a:off x="448618" y="2097680"/>
            <a:ext cx="2710501" cy="957614"/>
            <a:chOff x="448618" y="2097680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4" name="Rechthoek: afgeronde hoeken 3">
              <a:extLst>
                <a:ext uri="{FF2B5EF4-FFF2-40B4-BE49-F238E27FC236}">
                  <a16:creationId xmlns:a16="http://schemas.microsoft.com/office/drawing/2014/main" id="{F41A21BF-A5D4-26B7-F243-0BC76BAEB23C}"/>
                </a:ext>
              </a:extLst>
            </p:cNvPr>
            <p:cNvSpPr/>
            <p:nvPr/>
          </p:nvSpPr>
          <p:spPr>
            <a:xfrm>
              <a:off x="448618" y="2097680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2" name="Picture 10" descr="American Express PNG Images Transparent Téléchargement Gratuit | PNGMart">
              <a:extLst>
                <a:ext uri="{FF2B5EF4-FFF2-40B4-BE49-F238E27FC236}">
                  <a16:creationId xmlns:a16="http://schemas.microsoft.com/office/drawing/2014/main" id="{1C69E9E4-166B-DCDE-F0A5-E9111787C8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89" t="35233" r="5835" b="39334"/>
            <a:stretch/>
          </p:blipFill>
          <p:spPr bwMode="auto">
            <a:xfrm>
              <a:off x="705835" y="2405784"/>
              <a:ext cx="2219039" cy="349468"/>
            </a:xfrm>
            <a:prstGeom prst="rect">
              <a:avLst/>
            </a:prstGeom>
            <a:grpFill/>
          </p:spPr>
        </p:pic>
      </p:grpSp>
      <p:grpSp>
        <p:nvGrpSpPr>
          <p:cNvPr id="73" name="Groep 72">
            <a:extLst>
              <a:ext uri="{FF2B5EF4-FFF2-40B4-BE49-F238E27FC236}">
                <a16:creationId xmlns:a16="http://schemas.microsoft.com/office/drawing/2014/main" id="{00696FF8-DCD1-A93F-CA0E-3D880EA47D93}"/>
              </a:ext>
            </a:extLst>
          </p:cNvPr>
          <p:cNvGrpSpPr/>
          <p:nvPr/>
        </p:nvGrpSpPr>
        <p:grpSpPr>
          <a:xfrm>
            <a:off x="448618" y="3171662"/>
            <a:ext cx="2710501" cy="957614"/>
            <a:chOff x="448618" y="3171662"/>
            <a:chExt cx="2710501" cy="957614"/>
          </a:xfrm>
          <a:solidFill>
            <a:schemeClr val="bg1">
              <a:lumMod val="75000"/>
            </a:schemeClr>
          </a:solidFill>
        </p:grpSpPr>
        <p:sp>
          <p:nvSpPr>
            <p:cNvPr id="9" name="Rechthoek: afgeronde hoeken 8">
              <a:extLst>
                <a:ext uri="{FF2B5EF4-FFF2-40B4-BE49-F238E27FC236}">
                  <a16:creationId xmlns:a16="http://schemas.microsoft.com/office/drawing/2014/main" id="{A93506B7-D4F3-6719-35DB-F599012341AF}"/>
                </a:ext>
              </a:extLst>
            </p:cNvPr>
            <p:cNvSpPr/>
            <p:nvPr/>
          </p:nvSpPr>
          <p:spPr>
            <a:xfrm>
              <a:off x="448618" y="3171662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3153348C-143A-2D28-B3A6-2860701DA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56815" y="3472605"/>
              <a:ext cx="1845540" cy="336558"/>
            </a:xfrm>
            <a:prstGeom prst="rect">
              <a:avLst/>
            </a:prstGeom>
            <a:grpFill/>
          </p:spPr>
        </p:pic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D29FB6B6-906B-C5FA-2447-3126AF74D20D}"/>
              </a:ext>
            </a:extLst>
          </p:cNvPr>
          <p:cNvGrpSpPr/>
          <p:nvPr/>
        </p:nvGrpSpPr>
        <p:grpSpPr>
          <a:xfrm>
            <a:off x="448618" y="4264349"/>
            <a:ext cx="2710501" cy="957614"/>
            <a:chOff x="448618" y="4264349"/>
            <a:chExt cx="2710501" cy="957614"/>
          </a:xfrm>
        </p:grpSpPr>
        <p:sp>
          <p:nvSpPr>
            <p:cNvPr id="13" name="Rechthoek: afgeronde hoeken 12">
              <a:extLst>
                <a:ext uri="{FF2B5EF4-FFF2-40B4-BE49-F238E27FC236}">
                  <a16:creationId xmlns:a16="http://schemas.microsoft.com/office/drawing/2014/main" id="{C4D7F1BA-3F55-C47F-DD20-877D34AB4116}"/>
                </a:ext>
              </a:extLst>
            </p:cNvPr>
            <p:cNvSpPr/>
            <p:nvPr/>
          </p:nvSpPr>
          <p:spPr>
            <a:xfrm>
              <a:off x="448618" y="4264349"/>
              <a:ext cx="2710501" cy="957614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4" name="Picture 8">
              <a:extLst>
                <a:ext uri="{FF2B5EF4-FFF2-40B4-BE49-F238E27FC236}">
                  <a16:creationId xmlns:a16="http://schemas.microsoft.com/office/drawing/2014/main" id="{70BBF9A5-ED29-BF34-EF47-27CFE492E1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t="31773" b="30586"/>
            <a:stretch/>
          </p:blipFill>
          <p:spPr>
            <a:xfrm>
              <a:off x="1077670" y="4459320"/>
              <a:ext cx="1447954" cy="545028"/>
            </a:xfrm>
            <a:prstGeom prst="rect">
              <a:avLst/>
            </a:prstGeom>
          </p:spPr>
        </p:pic>
      </p:grpSp>
      <p:grpSp>
        <p:nvGrpSpPr>
          <p:cNvPr id="83" name="Groep 82">
            <a:extLst>
              <a:ext uri="{FF2B5EF4-FFF2-40B4-BE49-F238E27FC236}">
                <a16:creationId xmlns:a16="http://schemas.microsoft.com/office/drawing/2014/main" id="{FE84D164-6B50-2847-C10C-DA8ADB464C09}"/>
              </a:ext>
            </a:extLst>
          </p:cNvPr>
          <p:cNvGrpSpPr/>
          <p:nvPr/>
        </p:nvGrpSpPr>
        <p:grpSpPr>
          <a:xfrm>
            <a:off x="448618" y="5347106"/>
            <a:ext cx="2710501" cy="957614"/>
            <a:chOff x="448618" y="5347106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17" name="Rechthoek: afgeronde hoeken 16">
              <a:extLst>
                <a:ext uri="{FF2B5EF4-FFF2-40B4-BE49-F238E27FC236}">
                  <a16:creationId xmlns:a16="http://schemas.microsoft.com/office/drawing/2014/main" id="{B87F0905-83F7-72B7-E4B2-34DDC2EBF3B4}"/>
                </a:ext>
              </a:extLst>
            </p:cNvPr>
            <p:cNvSpPr/>
            <p:nvPr/>
          </p:nvSpPr>
          <p:spPr>
            <a:xfrm>
              <a:off x="448618" y="5347106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8" name="Picture 10" descr="Home | Subway®">
              <a:extLst>
                <a:ext uri="{FF2B5EF4-FFF2-40B4-BE49-F238E27FC236}">
                  <a16:creationId xmlns:a16="http://schemas.microsoft.com/office/drawing/2014/main" id="{E9047C51-AC78-4778-96F3-D58C758A3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101" y="5684050"/>
              <a:ext cx="1421091" cy="283725"/>
            </a:xfrm>
            <a:prstGeom prst="rect">
              <a:avLst/>
            </a:prstGeom>
            <a:grpFill/>
          </p:spPr>
        </p:pic>
      </p:grpSp>
      <p:grpSp>
        <p:nvGrpSpPr>
          <p:cNvPr id="75" name="Groep 74">
            <a:extLst>
              <a:ext uri="{FF2B5EF4-FFF2-40B4-BE49-F238E27FC236}">
                <a16:creationId xmlns:a16="http://schemas.microsoft.com/office/drawing/2014/main" id="{A4561410-D955-FB6E-FE6D-25DD8156F38D}"/>
              </a:ext>
            </a:extLst>
          </p:cNvPr>
          <p:cNvGrpSpPr/>
          <p:nvPr/>
        </p:nvGrpSpPr>
        <p:grpSpPr>
          <a:xfrm>
            <a:off x="3333454" y="3171662"/>
            <a:ext cx="2710501" cy="957614"/>
            <a:chOff x="3333454" y="3171662"/>
            <a:chExt cx="2710501" cy="957614"/>
          </a:xfrm>
        </p:grpSpPr>
        <p:sp>
          <p:nvSpPr>
            <p:cNvPr id="10" name="Rechthoek: afgeronde hoeken 9">
              <a:extLst>
                <a:ext uri="{FF2B5EF4-FFF2-40B4-BE49-F238E27FC236}">
                  <a16:creationId xmlns:a16="http://schemas.microsoft.com/office/drawing/2014/main" id="{42049C71-3E98-E744-CD07-01ED13AFA01E}"/>
                </a:ext>
              </a:extLst>
            </p:cNvPr>
            <p:cNvSpPr/>
            <p:nvPr/>
          </p:nvSpPr>
          <p:spPr>
            <a:xfrm>
              <a:off x="3333454" y="3171662"/>
              <a:ext cx="2710501" cy="957614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FA9664CA-E79B-C084-9F1E-CF8702BBFA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7054" y="3395520"/>
              <a:ext cx="743300" cy="500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0" name="Groep 79">
            <a:extLst>
              <a:ext uri="{FF2B5EF4-FFF2-40B4-BE49-F238E27FC236}">
                <a16:creationId xmlns:a16="http://schemas.microsoft.com/office/drawing/2014/main" id="{D9A5E7F0-BA77-60A3-7DF4-F031398E58F0}"/>
              </a:ext>
            </a:extLst>
          </p:cNvPr>
          <p:cNvGrpSpPr/>
          <p:nvPr/>
        </p:nvGrpSpPr>
        <p:grpSpPr>
          <a:xfrm>
            <a:off x="3333454" y="4264349"/>
            <a:ext cx="2710501" cy="957614"/>
            <a:chOff x="3333454" y="4264349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id="{8A783B50-353C-42A8-1510-04920139B6EF}"/>
                </a:ext>
              </a:extLst>
            </p:cNvPr>
            <p:cNvSpPr/>
            <p:nvPr/>
          </p:nvSpPr>
          <p:spPr>
            <a:xfrm>
              <a:off x="3333454" y="4264349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6E1A3AEE-D450-01C8-FBB3-428E621B3B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2235" y="4621678"/>
              <a:ext cx="1132938" cy="260612"/>
            </a:xfrm>
            <a:prstGeom prst="rect">
              <a:avLst/>
            </a:prstGeom>
            <a:grpFill/>
          </p:spPr>
        </p:pic>
      </p:grpSp>
      <p:grpSp>
        <p:nvGrpSpPr>
          <p:cNvPr id="69" name="Groep 68">
            <a:extLst>
              <a:ext uri="{FF2B5EF4-FFF2-40B4-BE49-F238E27FC236}">
                <a16:creationId xmlns:a16="http://schemas.microsoft.com/office/drawing/2014/main" id="{879B9553-EEDD-6B61-E8C0-6B8CDDEC85D0}"/>
              </a:ext>
            </a:extLst>
          </p:cNvPr>
          <p:cNvGrpSpPr/>
          <p:nvPr/>
        </p:nvGrpSpPr>
        <p:grpSpPr>
          <a:xfrm>
            <a:off x="3333454" y="2097680"/>
            <a:ext cx="2710501" cy="957614"/>
            <a:chOff x="3333454" y="2097680"/>
            <a:chExt cx="2710501" cy="957614"/>
          </a:xfrm>
          <a:solidFill>
            <a:schemeClr val="bg1">
              <a:lumMod val="75000"/>
            </a:schemeClr>
          </a:solidFill>
        </p:grpSpPr>
        <p:sp>
          <p:nvSpPr>
            <p:cNvPr id="5" name="Rechthoek: afgeronde hoeken 4">
              <a:extLst>
                <a:ext uri="{FF2B5EF4-FFF2-40B4-BE49-F238E27FC236}">
                  <a16:creationId xmlns:a16="http://schemas.microsoft.com/office/drawing/2014/main" id="{4B74BC8C-7C4C-7853-A124-55D37F13EA6D}"/>
                </a:ext>
              </a:extLst>
            </p:cNvPr>
            <p:cNvSpPr/>
            <p:nvPr/>
          </p:nvSpPr>
          <p:spPr>
            <a:xfrm>
              <a:off x="3333454" y="2097680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35" name="Picture 6">
              <a:extLst>
                <a:ext uri="{FF2B5EF4-FFF2-40B4-BE49-F238E27FC236}">
                  <a16:creationId xmlns:a16="http://schemas.microsoft.com/office/drawing/2014/main" id="{9774323E-832C-E7B5-6018-976D7C0BD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7055" y="2292169"/>
              <a:ext cx="743298" cy="577249"/>
            </a:xfrm>
            <a:prstGeom prst="rect">
              <a:avLst/>
            </a:prstGeom>
            <a:grpFill/>
          </p:spPr>
        </p:pic>
      </p:grpSp>
      <p:grpSp>
        <p:nvGrpSpPr>
          <p:cNvPr id="84" name="Groep 83">
            <a:extLst>
              <a:ext uri="{FF2B5EF4-FFF2-40B4-BE49-F238E27FC236}">
                <a16:creationId xmlns:a16="http://schemas.microsoft.com/office/drawing/2014/main" id="{039D3EDA-FC82-4EC9-FF14-24EFBFA05772}"/>
              </a:ext>
            </a:extLst>
          </p:cNvPr>
          <p:cNvGrpSpPr/>
          <p:nvPr/>
        </p:nvGrpSpPr>
        <p:grpSpPr>
          <a:xfrm>
            <a:off x="3333454" y="5347106"/>
            <a:ext cx="2710501" cy="957614"/>
            <a:chOff x="3333454" y="5347106"/>
            <a:chExt cx="2710501" cy="957614"/>
          </a:xfrm>
          <a:solidFill>
            <a:schemeClr val="bg1">
              <a:lumMod val="75000"/>
            </a:schemeClr>
          </a:solidFill>
        </p:grpSpPr>
        <p:sp>
          <p:nvSpPr>
            <p:cNvPr id="18" name="Rechthoek: afgeronde hoeken 17">
              <a:extLst>
                <a:ext uri="{FF2B5EF4-FFF2-40B4-BE49-F238E27FC236}">
                  <a16:creationId xmlns:a16="http://schemas.microsoft.com/office/drawing/2014/main" id="{995C2D09-063E-1F6E-FC1C-F8E57DF6E8F4}"/>
                </a:ext>
              </a:extLst>
            </p:cNvPr>
            <p:cNvSpPr/>
            <p:nvPr/>
          </p:nvSpPr>
          <p:spPr>
            <a:xfrm>
              <a:off x="3333454" y="5347106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36" name="Picture 12" descr="Sunbelt Rentals Logo PNG Transparent &amp; SVG Vector - Freebie Supply">
              <a:extLst>
                <a:ext uri="{FF2B5EF4-FFF2-40B4-BE49-F238E27FC236}">
                  <a16:creationId xmlns:a16="http://schemas.microsoft.com/office/drawing/2014/main" id="{F41B4F2D-4F8B-E427-1498-50F41BB8D1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64" r="1574" b="13422"/>
            <a:stretch/>
          </p:blipFill>
          <p:spPr bwMode="auto">
            <a:xfrm>
              <a:off x="4227501" y="5471134"/>
              <a:ext cx="922406" cy="709556"/>
            </a:xfrm>
            <a:prstGeom prst="rect">
              <a:avLst/>
            </a:prstGeom>
            <a:grpFill/>
          </p:spPr>
        </p:pic>
      </p:grpSp>
      <p:grpSp>
        <p:nvGrpSpPr>
          <p:cNvPr id="76" name="Groep 75">
            <a:extLst>
              <a:ext uri="{FF2B5EF4-FFF2-40B4-BE49-F238E27FC236}">
                <a16:creationId xmlns:a16="http://schemas.microsoft.com/office/drawing/2014/main" id="{76334FBC-880E-A633-9B67-9CB953A1AE18}"/>
              </a:ext>
            </a:extLst>
          </p:cNvPr>
          <p:cNvGrpSpPr/>
          <p:nvPr/>
        </p:nvGrpSpPr>
        <p:grpSpPr>
          <a:xfrm>
            <a:off x="6218291" y="3171662"/>
            <a:ext cx="2710501" cy="957614"/>
            <a:chOff x="6218291" y="3171662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11" name="Rechthoek: afgeronde hoeken 10">
              <a:extLst>
                <a:ext uri="{FF2B5EF4-FFF2-40B4-BE49-F238E27FC236}">
                  <a16:creationId xmlns:a16="http://schemas.microsoft.com/office/drawing/2014/main" id="{B80DCBE4-B035-0D07-E890-F1E27398CB2F}"/>
                </a:ext>
              </a:extLst>
            </p:cNvPr>
            <p:cNvSpPr/>
            <p:nvPr/>
          </p:nvSpPr>
          <p:spPr>
            <a:xfrm>
              <a:off x="6218291" y="3171662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0" name="Picture 4">
              <a:extLst>
                <a:ext uri="{FF2B5EF4-FFF2-40B4-BE49-F238E27FC236}">
                  <a16:creationId xmlns:a16="http://schemas.microsoft.com/office/drawing/2014/main" id="{7C3D6106-AAB1-6245-59F5-3B1B1D59D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7336538" y="3333372"/>
              <a:ext cx="560901" cy="644567"/>
            </a:xfrm>
            <a:prstGeom prst="rect">
              <a:avLst/>
            </a:prstGeom>
            <a:grpFill/>
          </p:spPr>
        </p:pic>
      </p:grpSp>
      <p:grpSp>
        <p:nvGrpSpPr>
          <p:cNvPr id="70" name="Groep 69">
            <a:extLst>
              <a:ext uri="{FF2B5EF4-FFF2-40B4-BE49-F238E27FC236}">
                <a16:creationId xmlns:a16="http://schemas.microsoft.com/office/drawing/2014/main" id="{C6393CC6-7EDD-A683-8750-9E6E8D609DE0}"/>
              </a:ext>
            </a:extLst>
          </p:cNvPr>
          <p:cNvGrpSpPr/>
          <p:nvPr/>
        </p:nvGrpSpPr>
        <p:grpSpPr>
          <a:xfrm>
            <a:off x="6218291" y="2097680"/>
            <a:ext cx="2710501" cy="957614"/>
            <a:chOff x="6218291" y="2097680"/>
            <a:chExt cx="2710501" cy="957614"/>
          </a:xfrm>
        </p:grpSpPr>
        <p:sp>
          <p:nvSpPr>
            <p:cNvPr id="6" name="Rechthoek: afgeronde hoeken 5">
              <a:extLst>
                <a:ext uri="{FF2B5EF4-FFF2-40B4-BE49-F238E27FC236}">
                  <a16:creationId xmlns:a16="http://schemas.microsoft.com/office/drawing/2014/main" id="{58A2707B-2906-4F91-C131-D43221E86B43}"/>
                </a:ext>
              </a:extLst>
            </p:cNvPr>
            <p:cNvSpPr/>
            <p:nvPr/>
          </p:nvSpPr>
          <p:spPr>
            <a:xfrm>
              <a:off x="6218291" y="2097680"/>
              <a:ext cx="2710501" cy="957614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1" name="Picture 4" descr="Airbus Logo, symbol, meaning, history, PNG, brand">
              <a:extLst>
                <a:ext uri="{FF2B5EF4-FFF2-40B4-BE49-F238E27FC236}">
                  <a16:creationId xmlns:a16="http://schemas.microsoft.com/office/drawing/2014/main" id="{CAD2045F-F7E2-F384-896B-9930317781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8551" y="2258291"/>
              <a:ext cx="1196877" cy="673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1" name="Groep 80">
            <a:extLst>
              <a:ext uri="{FF2B5EF4-FFF2-40B4-BE49-F238E27FC236}">
                <a16:creationId xmlns:a16="http://schemas.microsoft.com/office/drawing/2014/main" id="{B1D1213B-AB62-268D-CDEE-B0500A3C6A1F}"/>
              </a:ext>
            </a:extLst>
          </p:cNvPr>
          <p:cNvGrpSpPr/>
          <p:nvPr/>
        </p:nvGrpSpPr>
        <p:grpSpPr>
          <a:xfrm>
            <a:off x="6218291" y="4264349"/>
            <a:ext cx="2710501" cy="957614"/>
            <a:chOff x="6218291" y="4264349"/>
            <a:chExt cx="2710501" cy="957614"/>
          </a:xfrm>
          <a:solidFill>
            <a:schemeClr val="bg1">
              <a:lumMod val="75000"/>
            </a:schemeClr>
          </a:solidFill>
        </p:grpSpPr>
        <p:sp>
          <p:nvSpPr>
            <p:cNvPr id="15" name="Rechthoek: afgeronde hoeken 14">
              <a:extLst>
                <a:ext uri="{FF2B5EF4-FFF2-40B4-BE49-F238E27FC236}">
                  <a16:creationId xmlns:a16="http://schemas.microsoft.com/office/drawing/2014/main" id="{09A8F9A4-0898-0076-95AE-787A65DE7681}"/>
                </a:ext>
              </a:extLst>
            </p:cNvPr>
            <p:cNvSpPr/>
            <p:nvPr/>
          </p:nvSpPr>
          <p:spPr>
            <a:xfrm>
              <a:off x="6218291" y="4264349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2" name="Picture 8">
              <a:extLst>
                <a:ext uri="{FF2B5EF4-FFF2-40B4-BE49-F238E27FC236}">
                  <a16:creationId xmlns:a16="http://schemas.microsoft.com/office/drawing/2014/main" id="{B914478C-7D40-E15D-2309-586BC60C85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3542" y="4391763"/>
              <a:ext cx="702790" cy="702786"/>
            </a:xfrm>
            <a:prstGeom prst="rect">
              <a:avLst/>
            </a:prstGeom>
            <a:grpFill/>
          </p:spPr>
        </p:pic>
      </p:grpSp>
      <p:grpSp>
        <p:nvGrpSpPr>
          <p:cNvPr id="85" name="Groep 84">
            <a:extLst>
              <a:ext uri="{FF2B5EF4-FFF2-40B4-BE49-F238E27FC236}">
                <a16:creationId xmlns:a16="http://schemas.microsoft.com/office/drawing/2014/main" id="{9ECA5CF8-D504-3361-6043-EEE30D0EFECB}"/>
              </a:ext>
            </a:extLst>
          </p:cNvPr>
          <p:cNvGrpSpPr/>
          <p:nvPr/>
        </p:nvGrpSpPr>
        <p:grpSpPr>
          <a:xfrm>
            <a:off x="6218291" y="5347106"/>
            <a:ext cx="2710501" cy="957614"/>
            <a:chOff x="6218291" y="5347106"/>
            <a:chExt cx="2710501" cy="957614"/>
          </a:xfrm>
        </p:grpSpPr>
        <p:sp>
          <p:nvSpPr>
            <p:cNvPr id="19" name="Rechthoek: afgeronde hoeken 18">
              <a:extLst>
                <a:ext uri="{FF2B5EF4-FFF2-40B4-BE49-F238E27FC236}">
                  <a16:creationId xmlns:a16="http://schemas.microsoft.com/office/drawing/2014/main" id="{E061521B-0A85-8436-811B-D752A579A8CF}"/>
                </a:ext>
              </a:extLst>
            </p:cNvPr>
            <p:cNvSpPr/>
            <p:nvPr/>
          </p:nvSpPr>
          <p:spPr>
            <a:xfrm>
              <a:off x="6218291" y="5347106"/>
              <a:ext cx="2710501" cy="957614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3" name="Picture 14" descr="General Mills - Wikipedia">
              <a:extLst>
                <a:ext uri="{FF2B5EF4-FFF2-40B4-BE49-F238E27FC236}">
                  <a16:creationId xmlns:a16="http://schemas.microsoft.com/office/drawing/2014/main" id="{5A098A77-829B-372A-2AE3-CEEC170C2E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5352" y="5557254"/>
              <a:ext cx="999168" cy="5828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8" name="Groep 77">
            <a:extLst>
              <a:ext uri="{FF2B5EF4-FFF2-40B4-BE49-F238E27FC236}">
                <a16:creationId xmlns:a16="http://schemas.microsoft.com/office/drawing/2014/main" id="{EDF10699-8EBC-6518-06CA-BDBDB2992897}"/>
              </a:ext>
            </a:extLst>
          </p:cNvPr>
          <p:cNvGrpSpPr/>
          <p:nvPr/>
        </p:nvGrpSpPr>
        <p:grpSpPr>
          <a:xfrm>
            <a:off x="9103127" y="3171662"/>
            <a:ext cx="2710501" cy="957614"/>
            <a:chOff x="9103127" y="3171662"/>
            <a:chExt cx="2710501" cy="957614"/>
          </a:xfrm>
          <a:solidFill>
            <a:schemeClr val="bg1">
              <a:lumMod val="75000"/>
            </a:schemeClr>
          </a:solidFill>
        </p:grpSpPr>
        <p:sp>
          <p:nvSpPr>
            <p:cNvPr id="12" name="Rechthoek: afgeronde hoeken 11">
              <a:extLst>
                <a:ext uri="{FF2B5EF4-FFF2-40B4-BE49-F238E27FC236}">
                  <a16:creationId xmlns:a16="http://schemas.microsoft.com/office/drawing/2014/main" id="{1A1056B9-CE8D-3036-0ED2-D45D41FE938B}"/>
                </a:ext>
              </a:extLst>
            </p:cNvPr>
            <p:cNvSpPr/>
            <p:nvPr/>
          </p:nvSpPr>
          <p:spPr>
            <a:xfrm>
              <a:off x="9103127" y="3171662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4" name="Picture 9">
              <a:extLst>
                <a:ext uri="{FF2B5EF4-FFF2-40B4-BE49-F238E27FC236}">
                  <a16:creationId xmlns:a16="http://schemas.microsoft.com/office/drawing/2014/main" id="{92788390-C048-41BC-639D-43A240AD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10018356" y="3395334"/>
              <a:ext cx="880042" cy="495023"/>
            </a:xfrm>
            <a:prstGeom prst="rect">
              <a:avLst/>
            </a:prstGeom>
            <a:grpFill/>
          </p:spPr>
        </p:pic>
      </p:grpSp>
      <p:grpSp>
        <p:nvGrpSpPr>
          <p:cNvPr id="82" name="Groep 81">
            <a:extLst>
              <a:ext uri="{FF2B5EF4-FFF2-40B4-BE49-F238E27FC236}">
                <a16:creationId xmlns:a16="http://schemas.microsoft.com/office/drawing/2014/main" id="{B9F45293-30FA-6A14-B108-0EF334009E04}"/>
              </a:ext>
            </a:extLst>
          </p:cNvPr>
          <p:cNvGrpSpPr/>
          <p:nvPr/>
        </p:nvGrpSpPr>
        <p:grpSpPr>
          <a:xfrm>
            <a:off x="9103127" y="4264349"/>
            <a:ext cx="2710501" cy="957614"/>
            <a:chOff x="9103127" y="4264349"/>
            <a:chExt cx="2710501" cy="957614"/>
          </a:xfrm>
        </p:grpSpPr>
        <p:sp>
          <p:nvSpPr>
            <p:cNvPr id="16" name="Rechthoek: afgeronde hoeken 15">
              <a:extLst>
                <a:ext uri="{FF2B5EF4-FFF2-40B4-BE49-F238E27FC236}">
                  <a16:creationId xmlns:a16="http://schemas.microsoft.com/office/drawing/2014/main" id="{40C3850A-BBD6-AA08-DD3D-B672042A3FC6}"/>
                </a:ext>
              </a:extLst>
            </p:cNvPr>
            <p:cNvSpPr/>
            <p:nvPr/>
          </p:nvSpPr>
          <p:spPr>
            <a:xfrm>
              <a:off x="9103127" y="4264349"/>
              <a:ext cx="2710501" cy="957614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49" name="Picture 6" descr="Hyatt Logo and symbol, meaning, history, PNG, brand">
              <a:extLst>
                <a:ext uri="{FF2B5EF4-FFF2-40B4-BE49-F238E27FC236}">
                  <a16:creationId xmlns:a16="http://schemas.microsoft.com/office/drawing/2014/main" id="{F25A4A04-38A5-C9A7-C971-3EFB98DDCF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8968" y="4473863"/>
              <a:ext cx="938818" cy="528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" name="Groep 71">
            <a:extLst>
              <a:ext uri="{FF2B5EF4-FFF2-40B4-BE49-F238E27FC236}">
                <a16:creationId xmlns:a16="http://schemas.microsoft.com/office/drawing/2014/main" id="{8EAB8A0D-5436-9684-3FED-7311330AA81B}"/>
              </a:ext>
            </a:extLst>
          </p:cNvPr>
          <p:cNvGrpSpPr/>
          <p:nvPr/>
        </p:nvGrpSpPr>
        <p:grpSpPr>
          <a:xfrm>
            <a:off x="9103127" y="2097680"/>
            <a:ext cx="2710501" cy="957614"/>
            <a:chOff x="9103127" y="2097680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7" name="Rechthoek: afgeronde hoeken 6">
              <a:extLst>
                <a:ext uri="{FF2B5EF4-FFF2-40B4-BE49-F238E27FC236}">
                  <a16:creationId xmlns:a16="http://schemas.microsoft.com/office/drawing/2014/main" id="{570D171C-624F-F380-C581-094A51130298}"/>
                </a:ext>
              </a:extLst>
            </p:cNvPr>
            <p:cNvSpPr/>
            <p:nvPr/>
          </p:nvSpPr>
          <p:spPr>
            <a:xfrm>
              <a:off x="9103127" y="2097680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52" name="Picture 4" descr="Logo Toyota Png - Free Transparent PNG Logos">
              <a:extLst>
                <a:ext uri="{FF2B5EF4-FFF2-40B4-BE49-F238E27FC236}">
                  <a16:creationId xmlns:a16="http://schemas.microsoft.com/office/drawing/2014/main" id="{8A9B62D8-EFB2-CB52-8F43-0E68BCE869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19470" y="2262867"/>
              <a:ext cx="877815" cy="610194"/>
            </a:xfrm>
            <a:prstGeom prst="rect">
              <a:avLst/>
            </a:prstGeom>
            <a:grpFill/>
          </p:spPr>
        </p:pic>
      </p:grpSp>
      <p:grpSp>
        <p:nvGrpSpPr>
          <p:cNvPr id="86" name="Groep 85">
            <a:extLst>
              <a:ext uri="{FF2B5EF4-FFF2-40B4-BE49-F238E27FC236}">
                <a16:creationId xmlns:a16="http://schemas.microsoft.com/office/drawing/2014/main" id="{C67BB6CE-EECF-10B5-9995-E7DDB17AF774}"/>
              </a:ext>
            </a:extLst>
          </p:cNvPr>
          <p:cNvGrpSpPr/>
          <p:nvPr/>
        </p:nvGrpSpPr>
        <p:grpSpPr>
          <a:xfrm>
            <a:off x="9103127" y="5347106"/>
            <a:ext cx="2710501" cy="957614"/>
            <a:chOff x="9103127" y="5347106"/>
            <a:chExt cx="2710501" cy="957614"/>
          </a:xfrm>
          <a:solidFill>
            <a:schemeClr val="bg1">
              <a:lumMod val="85000"/>
            </a:schemeClr>
          </a:solidFill>
        </p:grpSpPr>
        <p:sp>
          <p:nvSpPr>
            <p:cNvPr id="20" name="Rechthoek: afgeronde hoeken 19">
              <a:extLst>
                <a:ext uri="{FF2B5EF4-FFF2-40B4-BE49-F238E27FC236}">
                  <a16:creationId xmlns:a16="http://schemas.microsoft.com/office/drawing/2014/main" id="{DEA40F12-9687-0846-F29F-EBA2209C97ED}"/>
                </a:ext>
              </a:extLst>
            </p:cNvPr>
            <p:cNvSpPr/>
            <p:nvPr/>
          </p:nvSpPr>
          <p:spPr>
            <a:xfrm>
              <a:off x="9103127" y="5347106"/>
              <a:ext cx="2710501" cy="957614"/>
            </a:xfrm>
            <a:prstGeom prst="roundRect">
              <a:avLst>
                <a:gd name="adj" fmla="val 6403"/>
              </a:avLst>
            </a:prstGeom>
            <a:grpFill/>
            <a:ln>
              <a:noFill/>
            </a:ln>
            <a:effectLst>
              <a:outerShdw blurRad="190500" dist="127000" dir="2700000" sx="98000" sy="98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53" name="Picture 16">
              <a:extLst>
                <a:ext uri="{FF2B5EF4-FFF2-40B4-BE49-F238E27FC236}">
                  <a16:creationId xmlns:a16="http://schemas.microsoft.com/office/drawing/2014/main" id="{2837BF2C-5320-97AA-D62D-29FC589F3A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3982" y="5597444"/>
              <a:ext cx="1608791" cy="456936"/>
            </a:xfrm>
            <a:prstGeom prst="rect">
              <a:avLst/>
            </a:prstGeom>
            <a:grpFill/>
          </p:spPr>
        </p:pic>
      </p:grpSp>
      <p:cxnSp>
        <p:nvCxnSpPr>
          <p:cNvPr id="65" name="Rechte verbindingslijn 64">
            <a:extLst>
              <a:ext uri="{FF2B5EF4-FFF2-40B4-BE49-F238E27FC236}">
                <a16:creationId xmlns:a16="http://schemas.microsoft.com/office/drawing/2014/main" id="{DD250D55-E046-9002-4F1C-6E13FB1B3BBF}"/>
              </a:ext>
            </a:extLst>
          </p:cNvPr>
          <p:cNvCxnSpPr>
            <a:cxnSpLocks/>
          </p:cNvCxnSpPr>
          <p:nvPr/>
        </p:nvCxnSpPr>
        <p:spPr>
          <a:xfrm>
            <a:off x="5878515" y="1609022"/>
            <a:ext cx="434970" cy="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kstvak 57">
            <a:extLst>
              <a:ext uri="{FF2B5EF4-FFF2-40B4-BE49-F238E27FC236}">
                <a16:creationId xmlns:a16="http://schemas.microsoft.com/office/drawing/2014/main" id="{3EF20E6D-FD08-A756-B9CE-35C673C3598C}"/>
              </a:ext>
            </a:extLst>
          </p:cNvPr>
          <p:cNvSpPr txBox="1"/>
          <p:nvPr/>
        </p:nvSpPr>
        <p:spPr>
          <a:xfrm>
            <a:off x="-3531540" y="1221873"/>
            <a:ext cx="307731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t a Glance</a:t>
            </a:r>
            <a:endParaRPr lang="nl-BE" sz="2400"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21" name="Tekstvak 59">
            <a:extLst>
              <a:ext uri="{FF2B5EF4-FFF2-40B4-BE49-F238E27FC236}">
                <a16:creationId xmlns:a16="http://schemas.microsoft.com/office/drawing/2014/main" id="{6084FB7D-A8D1-7501-60EA-71A9FE074601}"/>
              </a:ext>
            </a:extLst>
          </p:cNvPr>
          <p:cNvSpPr txBox="1"/>
          <p:nvPr/>
        </p:nvSpPr>
        <p:spPr>
          <a:xfrm>
            <a:off x="-5997640" y="311401"/>
            <a:ext cx="54336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atch My P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09125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1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7" dur="10" fill="hold"/>
                                        <p:tgtEl>
                                          <p:spTgt spid="6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750" fill="hold"/>
                                        <p:tgtEl>
                                          <p:spTgt spid="6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74" dur="10" fill="hold"/>
                                        <p:tgtEl>
                                          <p:spTgt spid="6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6" presetClass="emp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76" dur="750" fill="hold"/>
                                        <p:tgtEl>
                                          <p:spTgt spid="6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81" dur="10" fill="hold"/>
                                        <p:tgtEl>
                                          <p:spTgt spid="7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83" dur="750" fill="hold"/>
                                        <p:tgtEl>
                                          <p:spTgt spid="7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mph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88" dur="10" fill="hold"/>
                                        <p:tgtEl>
                                          <p:spTgt spid="7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6" presetClass="emp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90" dur="750" fill="hold"/>
                                        <p:tgtEl>
                                          <p:spTgt spid="7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95" dur="10" fill="hold"/>
                                        <p:tgtEl>
                                          <p:spTgt spid="7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6" presetID="6" presetClass="emp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97" dur="750" fill="hold"/>
                                        <p:tgtEl>
                                          <p:spTgt spid="7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02" dur="10" fill="hold"/>
                                        <p:tgtEl>
                                          <p:spTgt spid="7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04" dur="750" fill="hold"/>
                                        <p:tgtEl>
                                          <p:spTgt spid="7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6" presetClass="emph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109" dur="10" fill="hold"/>
                                        <p:tgtEl>
                                          <p:spTgt spid="7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6" presetClass="emp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111" dur="750" fill="hold"/>
                                        <p:tgtEl>
                                          <p:spTgt spid="7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6" presetClass="emph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Scale>
                                      <p:cBhvr>
                                        <p:cTn id="116" dur="10" fill="hold"/>
                                        <p:tgtEl>
                                          <p:spTgt spid="7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17" presetID="6" presetClass="emph" presetSubtype="0" decel="10000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Scale>
                                      <p:cBhvr>
                                        <p:cTn id="118" dur="750" fill="hold"/>
                                        <p:tgtEl>
                                          <p:spTgt spid="7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23" dur="10" fill="hold"/>
                                        <p:tgtEl>
                                          <p:spTgt spid="7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4" presetID="6" presetClass="emp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25" dur="750" fill="hold"/>
                                        <p:tgtEl>
                                          <p:spTgt spid="7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6" presetClass="emph" presetSubtype="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animScale>
                                      <p:cBhvr>
                                        <p:cTn id="130" dur="10" fill="hold"/>
                                        <p:tgtEl>
                                          <p:spTgt spid="8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6" presetClass="emph" presetSubtype="0" decel="10000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animScale>
                                      <p:cBhvr>
                                        <p:cTn id="132" dur="750" fill="hold"/>
                                        <p:tgtEl>
                                          <p:spTgt spid="8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6" presetClass="emph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37" dur="10" fill="hold"/>
                                        <p:tgtEl>
                                          <p:spTgt spid="8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6" presetClass="emp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39" dur="750" fill="hold"/>
                                        <p:tgtEl>
                                          <p:spTgt spid="8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6" presetClass="emph" presetSubtype="0" fill="hold" nodeType="withEffect">
                                  <p:stCondLst>
                                    <p:cond delay="1650"/>
                                  </p:stCondLst>
                                  <p:childTnLst>
                                    <p:animScale>
                                      <p:cBhvr>
                                        <p:cTn id="144" dur="10" fill="hold"/>
                                        <p:tgtEl>
                                          <p:spTgt spid="8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45" presetID="6" presetClass="emph" presetSubtype="0" decel="100000" fill="hold" nodeType="withEffect">
                                  <p:stCondLst>
                                    <p:cond delay="1650"/>
                                  </p:stCondLst>
                                  <p:childTnLst>
                                    <p:animScale>
                                      <p:cBhvr>
                                        <p:cTn id="146" dur="750" fill="hold"/>
                                        <p:tgtEl>
                                          <p:spTgt spid="8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6" presetClass="emph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Scale>
                                      <p:cBhvr>
                                        <p:cTn id="151" dur="10" fill="hold"/>
                                        <p:tgtEl>
                                          <p:spTgt spid="8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2" presetID="6" presetClass="emph" presetSubtype="0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Scale>
                                      <p:cBhvr>
                                        <p:cTn id="153" dur="750" fill="hold"/>
                                        <p:tgtEl>
                                          <p:spTgt spid="8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6" presetClass="emph" presetSubtype="0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animScale>
                                      <p:cBhvr>
                                        <p:cTn id="158" dur="10" fill="hold"/>
                                        <p:tgtEl>
                                          <p:spTgt spid="8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9" presetID="6" presetClass="emph" presetSubtype="0" decel="100000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animScale>
                                      <p:cBhvr>
                                        <p:cTn id="160" dur="750" fill="hold"/>
                                        <p:tgtEl>
                                          <p:spTgt spid="8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6" presetClass="emph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Scale>
                                      <p:cBhvr>
                                        <p:cTn id="165" dur="10" fill="hold"/>
                                        <p:tgtEl>
                                          <p:spTgt spid="8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6" presetClass="emph" presetSubtype="0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Scale>
                                      <p:cBhvr>
                                        <p:cTn id="167" dur="750" fill="hold"/>
                                        <p:tgtEl>
                                          <p:spTgt spid="8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6" presetClass="emph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Scale>
                                      <p:cBhvr>
                                        <p:cTn id="172" dur="10" fill="hold"/>
                                        <p:tgtEl>
                                          <p:spTgt spid="8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6" presetClass="emph" presetSubtype="0" decel="10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Scale>
                                      <p:cBhvr>
                                        <p:cTn id="174" dur="750" fill="hold"/>
                                        <p:tgtEl>
                                          <p:spTgt spid="8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85" dur="300" fill="hold"/>
                                        <p:tgtEl>
                                          <p:spTgt spid="2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37" grpId="0" animBg="1"/>
      <p:bldP spid="38" grpId="0" animBg="1"/>
      <p:bldP spid="39" grpId="0" animBg="1"/>
      <p:bldP spid="45" grpId="0"/>
      <p:bldP spid="46" grpId="0"/>
      <p:bldP spid="47" grpId="0"/>
      <p:bldP spid="48" grpId="0"/>
      <p:bldP spid="50" grpId="0"/>
      <p:bldP spid="51" grpId="0"/>
      <p:bldP spid="54" grpId="0"/>
      <p:bldP spid="55" grpId="0"/>
      <p:bldP spid="56" grpId="0"/>
      <p:bldP spid="57" grpId="0"/>
      <p:bldP spid="59" grpId="0"/>
      <p:bldP spid="60" grpId="0"/>
      <p:bldP spid="3" grpId="0"/>
      <p:bldP spid="8" grpId="0"/>
      <p:bldP spid="21" grpId="0"/>
      <p:bldP spid="21" grpId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4039B6F4-D24F-61B4-AB80-E479540663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 flipH="1">
            <a:off x="2663285" y="-2670717"/>
            <a:ext cx="6859934" cy="12197501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1D30E894-F7AF-3FB0-DD63-7AB3AC4703A3}"/>
              </a:ext>
            </a:extLst>
          </p:cNvPr>
          <p:cNvSpPr txBox="1"/>
          <p:nvPr/>
        </p:nvSpPr>
        <p:spPr>
          <a:xfrm>
            <a:off x="1122899" y="6074801"/>
            <a:ext cx="100291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lvl="0" algn="r">
              <a:defRPr sz="24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algn="ctr"/>
            <a:r>
              <a:rPr lang="en-US"/>
              <a:t>Track progress of bringing machines into compliance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220CAED8-5C0B-BDCE-9B0D-E421ED3D5A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" r="20"/>
          <a:stretch/>
        </p:blipFill>
        <p:spPr>
          <a:xfrm>
            <a:off x="13090176" y="361948"/>
            <a:ext cx="11533454" cy="7690175"/>
          </a:xfrm>
          <a:prstGeom prst="rect">
            <a:avLst/>
          </a:prstGeom>
        </p:spPr>
      </p:pic>
      <p:sp>
        <p:nvSpPr>
          <p:cNvPr id="3" name="Rounded Rectangle 10">
            <a:extLst>
              <a:ext uri="{FF2B5EF4-FFF2-40B4-BE49-F238E27FC236}">
                <a16:creationId xmlns:a16="http://schemas.microsoft.com/office/drawing/2014/main" id="{6450DB99-AF6B-CAD4-75F0-F34D65663B7F}"/>
              </a:ext>
            </a:extLst>
          </p:cNvPr>
          <p:cNvSpPr/>
          <p:nvPr/>
        </p:nvSpPr>
        <p:spPr>
          <a:xfrm>
            <a:off x="1122899" y="486054"/>
            <a:ext cx="10029195" cy="5588748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D6636E56-A3E5-C3D6-E72F-B87AF9723053}"/>
              </a:ext>
            </a:extLst>
          </p:cNvPr>
          <p:cNvSpPr/>
          <p:nvPr/>
        </p:nvSpPr>
        <p:spPr>
          <a:xfrm>
            <a:off x="1306926" y="659829"/>
            <a:ext cx="9594156" cy="5185159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145D2D-933C-D422-ACAF-D650925886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2792" y="856464"/>
            <a:ext cx="9060651" cy="47566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67853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 advTm="2964">
        <p159:morph option="byObject"/>
      </p:transition>
    </mc:Choice>
    <mc:Fallback xmlns="">
      <p:transition spd="med" advTm="296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2B248-230B-63AE-7DD4-9D45836A8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phic 32">
            <a:extLst>
              <a:ext uri="{FF2B5EF4-FFF2-40B4-BE49-F238E27FC236}">
                <a16:creationId xmlns:a16="http://schemas.microsoft.com/office/drawing/2014/main" id="{822C2401-1436-BDE7-F601-B7C474276C9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600" t="1063" r="11600" b="1063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pic>
        <p:nvPicPr>
          <p:cNvPr id="3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321BF294-D8E4-D2B0-EBF0-CA24157D5FA5}"/>
              </a:ext>
            </a:extLst>
          </p:cNvPr>
          <p:cNvPicPr/>
          <p:nvPr/>
        </p:nvPicPr>
        <p:blipFill rotWithShape="1">
          <a:blip r:embed="rId5">
            <a:alphaModFix amt="11000"/>
          </a:blip>
          <a:srcRect l="9834" t="-813"/>
          <a:stretch/>
        </p:blipFill>
        <p:spPr>
          <a:xfrm>
            <a:off x="0" y="-2899"/>
            <a:ext cx="12192000" cy="6860899"/>
          </a:xfrm>
          <a:prstGeom prst="rect">
            <a:avLst/>
          </a:prstGeom>
          <a:noFill/>
          <a:effectLst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964F889-110F-F14B-1365-39396E8FA214}"/>
              </a:ext>
            </a:extLst>
          </p:cNvPr>
          <p:cNvSpPr txBox="1"/>
          <p:nvPr/>
        </p:nvSpPr>
        <p:spPr>
          <a:xfrm>
            <a:off x="-4022" y="2919718"/>
            <a:ext cx="12200447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</a:rPr>
              <a:t>Hot New </a:t>
            </a:r>
            <a:r>
              <a:rPr lang="en-US" sz="6000" dirty="0">
                <a:solidFill>
                  <a:schemeClr val="bg2"/>
                </a:solidFill>
              </a:rPr>
              <a:t>Capabilities</a:t>
            </a:r>
            <a:endParaRPr lang="en-GB" sz="6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51673"/>
      </p:ext>
    </p:extLst>
  </p:cSld>
  <p:clrMapOvr>
    <a:masterClrMapping/>
  </p:clrMapOvr>
  <p:transition spd="slow" advTm="2056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6459C-C877-2992-301A-56743BED1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!!BG">
            <a:extLst>
              <a:ext uri="{FF2B5EF4-FFF2-40B4-BE49-F238E27FC236}">
                <a16:creationId xmlns:a16="http://schemas.microsoft.com/office/drawing/2014/main" id="{C936077E-A590-4E5F-E198-190AADDF6B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2"/>
            <a:ext cx="12193722" cy="684961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6" name="Rechthoek: afgeronde hoeken 9">
            <a:extLst>
              <a:ext uri="{FF2B5EF4-FFF2-40B4-BE49-F238E27FC236}">
                <a16:creationId xmlns:a16="http://schemas.microsoft.com/office/drawing/2014/main" id="{2DAA6DBE-9EE6-94B2-15C6-6B9AD8B02B6D}"/>
              </a:ext>
            </a:extLst>
          </p:cNvPr>
          <p:cNvSpPr/>
          <p:nvPr/>
        </p:nvSpPr>
        <p:spPr>
          <a:xfrm>
            <a:off x="787238" y="2215544"/>
            <a:ext cx="3233706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7" name="Tekstvak 11">
            <a:extLst>
              <a:ext uri="{FF2B5EF4-FFF2-40B4-BE49-F238E27FC236}">
                <a16:creationId xmlns:a16="http://schemas.microsoft.com/office/drawing/2014/main" id="{64204E6D-23DB-B342-9565-90A7E5154764}"/>
              </a:ext>
            </a:extLst>
          </p:cNvPr>
          <p:cNvSpPr txBox="1"/>
          <p:nvPr/>
        </p:nvSpPr>
        <p:spPr>
          <a:xfrm>
            <a:off x="538985" y="1869012"/>
            <a:ext cx="13555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8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1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E8FCF4-D798-9CF4-4476-1F7307775D1F}"/>
              </a:ext>
            </a:extLst>
          </p:cNvPr>
          <p:cNvSpPr txBox="1"/>
          <p:nvPr/>
        </p:nvSpPr>
        <p:spPr>
          <a:xfrm>
            <a:off x="669715" y="561681"/>
            <a:ext cx="9658315" cy="9233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bg1"/>
                </a:solidFill>
              </a:rPr>
              <a:t>Hot New </a:t>
            </a:r>
            <a:r>
              <a:rPr lang="en-US" sz="5400" b="1" dirty="0">
                <a:solidFill>
                  <a:schemeClr val="bg2"/>
                </a:solidFill>
              </a:rPr>
              <a:t>Capabilities</a:t>
            </a:r>
            <a:endParaRPr lang="en-GB" sz="5400" b="1" dirty="0">
              <a:solidFill>
                <a:schemeClr val="bg2"/>
              </a:solidFill>
            </a:endParaRPr>
          </a:p>
        </p:txBody>
      </p:sp>
      <p:sp>
        <p:nvSpPr>
          <p:cNvPr id="18" name="Tekstvak 59">
            <a:extLst>
              <a:ext uri="{FF2B5EF4-FFF2-40B4-BE49-F238E27FC236}">
                <a16:creationId xmlns:a16="http://schemas.microsoft.com/office/drawing/2014/main" id="{C8A5FBC0-9385-0498-85C4-F46D6AC1D9E2}"/>
              </a:ext>
            </a:extLst>
          </p:cNvPr>
          <p:cNvSpPr txBox="1"/>
          <p:nvPr/>
        </p:nvSpPr>
        <p:spPr>
          <a:xfrm>
            <a:off x="1580416" y="2406435"/>
            <a:ext cx="227539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pp Migration from ConfigMgr </a:t>
            </a:r>
            <a:r>
              <a:rPr lang="nl-BE" sz="2000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to Intune</a:t>
            </a:r>
          </a:p>
        </p:txBody>
      </p:sp>
      <p:sp>
        <p:nvSpPr>
          <p:cNvPr id="19" name="Rechthoek: afgeronde hoeken 9">
            <a:extLst>
              <a:ext uri="{FF2B5EF4-FFF2-40B4-BE49-F238E27FC236}">
                <a16:creationId xmlns:a16="http://schemas.microsoft.com/office/drawing/2014/main" id="{5D8D666D-9D62-93CC-C961-BB97B4FB5658}"/>
              </a:ext>
            </a:extLst>
          </p:cNvPr>
          <p:cNvSpPr/>
          <p:nvPr/>
        </p:nvSpPr>
        <p:spPr>
          <a:xfrm>
            <a:off x="4499514" y="2213321"/>
            <a:ext cx="3233706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Tekstvak 11">
            <a:extLst>
              <a:ext uri="{FF2B5EF4-FFF2-40B4-BE49-F238E27FC236}">
                <a16:creationId xmlns:a16="http://schemas.microsoft.com/office/drawing/2014/main" id="{A9896E8C-C2FF-7577-D60F-37A443AD356A}"/>
              </a:ext>
            </a:extLst>
          </p:cNvPr>
          <p:cNvSpPr txBox="1"/>
          <p:nvPr/>
        </p:nvSpPr>
        <p:spPr>
          <a:xfrm>
            <a:off x="4394437" y="1859703"/>
            <a:ext cx="13555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8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2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21" name="Tekstvak 59">
            <a:extLst>
              <a:ext uri="{FF2B5EF4-FFF2-40B4-BE49-F238E27FC236}">
                <a16:creationId xmlns:a16="http://schemas.microsoft.com/office/drawing/2014/main" id="{7EBE7523-D20D-F3EB-3710-D10D62D2D98A}"/>
              </a:ext>
            </a:extLst>
          </p:cNvPr>
          <p:cNvSpPr txBox="1"/>
          <p:nvPr/>
        </p:nvSpPr>
        <p:spPr>
          <a:xfrm>
            <a:off x="5644955" y="2563777"/>
            <a:ext cx="21724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macOS Apps </a:t>
            </a:r>
            <a:r>
              <a:rPr lang="nl-BE" sz="2000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for Intune</a:t>
            </a:r>
          </a:p>
        </p:txBody>
      </p:sp>
      <p:sp>
        <p:nvSpPr>
          <p:cNvPr id="28" name="Rechthoek: afgeronde hoeken 9">
            <a:extLst>
              <a:ext uri="{FF2B5EF4-FFF2-40B4-BE49-F238E27FC236}">
                <a16:creationId xmlns:a16="http://schemas.microsoft.com/office/drawing/2014/main" id="{E7CF47EB-616B-6650-6669-42B715929A02}"/>
              </a:ext>
            </a:extLst>
          </p:cNvPr>
          <p:cNvSpPr/>
          <p:nvPr/>
        </p:nvSpPr>
        <p:spPr>
          <a:xfrm>
            <a:off x="8219476" y="2213321"/>
            <a:ext cx="3233706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9" name="Tekstvak 11">
            <a:extLst>
              <a:ext uri="{FF2B5EF4-FFF2-40B4-BE49-F238E27FC236}">
                <a16:creationId xmlns:a16="http://schemas.microsoft.com/office/drawing/2014/main" id="{21AEAE40-512E-66C9-FE4D-84BEC96B1123}"/>
              </a:ext>
            </a:extLst>
          </p:cNvPr>
          <p:cNvSpPr txBox="1"/>
          <p:nvPr/>
        </p:nvSpPr>
        <p:spPr>
          <a:xfrm>
            <a:off x="8135289" y="1840838"/>
            <a:ext cx="13555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8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3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30" name="Tekstvak 59">
            <a:extLst>
              <a:ext uri="{FF2B5EF4-FFF2-40B4-BE49-F238E27FC236}">
                <a16:creationId xmlns:a16="http://schemas.microsoft.com/office/drawing/2014/main" id="{C9FF1E6C-2945-2867-CFD0-B441F3A57D21}"/>
              </a:ext>
            </a:extLst>
          </p:cNvPr>
          <p:cNvSpPr txBox="1"/>
          <p:nvPr/>
        </p:nvSpPr>
        <p:spPr>
          <a:xfrm>
            <a:off x="9364917" y="2392874"/>
            <a:ext cx="217245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dvanced Insights</a:t>
            </a:r>
          </a:p>
          <a:p>
            <a:r>
              <a:rPr lang="nl-BE" sz="2000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for Intune</a:t>
            </a:r>
          </a:p>
        </p:txBody>
      </p:sp>
      <p:sp>
        <p:nvSpPr>
          <p:cNvPr id="45" name="Rechthoek: afgeronde hoeken 9">
            <a:extLst>
              <a:ext uri="{FF2B5EF4-FFF2-40B4-BE49-F238E27FC236}">
                <a16:creationId xmlns:a16="http://schemas.microsoft.com/office/drawing/2014/main" id="{0410528A-F535-58BA-3C4D-0E60B83EEDBE}"/>
              </a:ext>
            </a:extLst>
          </p:cNvPr>
          <p:cNvSpPr/>
          <p:nvPr/>
        </p:nvSpPr>
        <p:spPr>
          <a:xfrm>
            <a:off x="2501157" y="4357013"/>
            <a:ext cx="3233706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Tekstvak 11">
            <a:extLst>
              <a:ext uri="{FF2B5EF4-FFF2-40B4-BE49-F238E27FC236}">
                <a16:creationId xmlns:a16="http://schemas.microsoft.com/office/drawing/2014/main" id="{2DC558C7-EB3C-C571-360D-A146ADD3D341}"/>
              </a:ext>
            </a:extLst>
          </p:cNvPr>
          <p:cNvSpPr txBox="1"/>
          <p:nvPr/>
        </p:nvSpPr>
        <p:spPr>
          <a:xfrm>
            <a:off x="2396080" y="4003395"/>
            <a:ext cx="13555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8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4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47" name="Tekstvak 59">
            <a:extLst>
              <a:ext uri="{FF2B5EF4-FFF2-40B4-BE49-F238E27FC236}">
                <a16:creationId xmlns:a16="http://schemas.microsoft.com/office/drawing/2014/main" id="{A6D67D30-7659-5B0B-7186-6EF41170EEAA}"/>
              </a:ext>
            </a:extLst>
          </p:cNvPr>
          <p:cNvSpPr txBox="1"/>
          <p:nvPr/>
        </p:nvSpPr>
        <p:spPr>
          <a:xfrm>
            <a:off x="3646598" y="4707469"/>
            <a:ext cx="21724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CVE</a:t>
            </a:r>
          </a:p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Insights</a:t>
            </a:r>
          </a:p>
        </p:txBody>
      </p:sp>
      <p:sp>
        <p:nvSpPr>
          <p:cNvPr id="48" name="Rechthoek: afgeronde hoeken 9">
            <a:extLst>
              <a:ext uri="{FF2B5EF4-FFF2-40B4-BE49-F238E27FC236}">
                <a16:creationId xmlns:a16="http://schemas.microsoft.com/office/drawing/2014/main" id="{D432F2B9-264A-D69D-67B9-F700E8671B03}"/>
              </a:ext>
            </a:extLst>
          </p:cNvPr>
          <p:cNvSpPr/>
          <p:nvPr/>
        </p:nvSpPr>
        <p:spPr>
          <a:xfrm>
            <a:off x="6221119" y="4357013"/>
            <a:ext cx="3233706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9" name="Tekstvak 11">
            <a:extLst>
              <a:ext uri="{FF2B5EF4-FFF2-40B4-BE49-F238E27FC236}">
                <a16:creationId xmlns:a16="http://schemas.microsoft.com/office/drawing/2014/main" id="{DE509183-A2BD-6357-1C7D-6B5E56D29756}"/>
              </a:ext>
            </a:extLst>
          </p:cNvPr>
          <p:cNvSpPr txBox="1"/>
          <p:nvPr/>
        </p:nvSpPr>
        <p:spPr>
          <a:xfrm>
            <a:off x="6136932" y="3984530"/>
            <a:ext cx="13555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8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5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50" name="Tekstvak 59">
            <a:extLst>
              <a:ext uri="{FF2B5EF4-FFF2-40B4-BE49-F238E27FC236}">
                <a16:creationId xmlns:a16="http://schemas.microsoft.com/office/drawing/2014/main" id="{43C774AF-43F3-E499-E4D0-99410F248FF6}"/>
              </a:ext>
            </a:extLst>
          </p:cNvPr>
          <p:cNvSpPr txBox="1"/>
          <p:nvPr/>
        </p:nvSpPr>
        <p:spPr>
          <a:xfrm>
            <a:off x="7366560" y="4536566"/>
            <a:ext cx="217245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20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SADT Commercial Support</a:t>
            </a:r>
          </a:p>
        </p:txBody>
      </p:sp>
    </p:spTree>
    <p:extLst>
      <p:ext uri="{BB962C8B-B14F-4D97-AF65-F5344CB8AC3E}">
        <p14:creationId xmlns:p14="http://schemas.microsoft.com/office/powerpoint/2010/main" val="2029056329"/>
      </p:ext>
    </p:extLst>
  </p:cSld>
  <p:clrMapOvr>
    <a:masterClrMapping/>
  </p:clrMapOvr>
  <p:transition spd="slow" advTm="2056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23" dur="300" fill="hold"/>
                                        <p:tgtEl>
                                          <p:spTgt spid="1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400"/>
                            </p:stCondLst>
                            <p:childTnLst>
                              <p:par>
                                <p:cTn id="2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39" dur="300" fill="hold"/>
                                        <p:tgtEl>
                                          <p:spTgt spid="2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300"/>
                            </p:stCondLst>
                            <p:childTnLst>
                              <p:par>
                                <p:cTn id="4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55" dur="300" fill="hold"/>
                                        <p:tgtEl>
                                          <p:spTgt spid="3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200"/>
                            </p:stCondLst>
                            <p:childTnLst>
                              <p:par>
                                <p:cTn id="5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71" dur="300" fill="hold"/>
                                        <p:tgtEl>
                                          <p:spTgt spid="4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100"/>
                            </p:stCondLst>
                            <p:childTnLst>
                              <p:par>
                                <p:cTn id="7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87" dur="300" fill="hold"/>
                                        <p:tgtEl>
                                          <p:spTgt spid="5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18" grpId="0"/>
      <p:bldP spid="18" grpId="1"/>
      <p:bldP spid="19" grpId="0" animBg="1"/>
      <p:bldP spid="20" grpId="0"/>
      <p:bldP spid="21" grpId="0"/>
      <p:bldP spid="21" grpId="1"/>
      <p:bldP spid="28" grpId="0" animBg="1"/>
      <p:bldP spid="29" grpId="0"/>
      <p:bldP spid="30" grpId="0"/>
      <p:bldP spid="30" grpId="1"/>
      <p:bldP spid="45" grpId="0" animBg="1"/>
      <p:bldP spid="46" grpId="0"/>
      <p:bldP spid="47" grpId="0"/>
      <p:bldP spid="47" grpId="1"/>
      <p:bldP spid="48" grpId="0" animBg="1"/>
      <p:bldP spid="49" grpId="0"/>
      <p:bldP spid="50" grpId="0"/>
      <p:bldP spid="50" grpId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540CC-B64B-8C97-F300-B79DF92E13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!!BG">
            <a:extLst>
              <a:ext uri="{FF2B5EF4-FFF2-40B4-BE49-F238E27FC236}">
                <a16:creationId xmlns:a16="http://schemas.microsoft.com/office/drawing/2014/main" id="{45B498D4-A7D7-C687-C474-F486A0B64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1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A7A738FA-62D5-97C5-22A8-54FABE6FFB9D}"/>
              </a:ext>
            </a:extLst>
          </p:cNvPr>
          <p:cNvSpPr/>
          <p:nvPr/>
        </p:nvSpPr>
        <p:spPr>
          <a:xfrm>
            <a:off x="6324600" y="4699168"/>
            <a:ext cx="5143501" cy="1179752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7A7447A-0541-D359-35D9-132D27A00A53}"/>
              </a:ext>
            </a:extLst>
          </p:cNvPr>
          <p:cNvSpPr/>
          <p:nvPr/>
        </p:nvSpPr>
        <p:spPr>
          <a:xfrm>
            <a:off x="6164630" y="623633"/>
            <a:ext cx="5462178" cy="3847167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7031F1C-B8C6-84B1-926F-45E992769FEA}"/>
              </a:ext>
            </a:extLst>
          </p:cNvPr>
          <p:cNvSpPr/>
          <p:nvPr/>
        </p:nvSpPr>
        <p:spPr>
          <a:xfrm>
            <a:off x="6404741" y="797409"/>
            <a:ext cx="5002690" cy="3470051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CFF151-8E10-8186-A1F0-112A658901D7}"/>
              </a:ext>
            </a:extLst>
          </p:cNvPr>
          <p:cNvSpPr txBox="1"/>
          <p:nvPr/>
        </p:nvSpPr>
        <p:spPr>
          <a:xfrm>
            <a:off x="6552191" y="4911892"/>
            <a:ext cx="4837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We are working on a solution to help customers migrate applications from </a:t>
            </a:r>
            <a:r>
              <a:rPr lang="en-US" sz="1400" err="1">
                <a:solidFill>
                  <a:schemeClr val="bg1"/>
                </a:solidFill>
              </a:rPr>
              <a:t>ConfigMgr</a:t>
            </a:r>
            <a:r>
              <a:rPr lang="en-US" sz="1400">
                <a:solidFill>
                  <a:schemeClr val="bg1"/>
                </a:solidFill>
              </a:rPr>
              <a:t> to Intune to help expedite the moving of workloads to the cloud</a:t>
            </a:r>
          </a:p>
        </p:txBody>
      </p:sp>
      <p:sp>
        <p:nvSpPr>
          <p:cNvPr id="3" name="Tekstvak 59">
            <a:extLst>
              <a:ext uri="{FF2B5EF4-FFF2-40B4-BE49-F238E27FC236}">
                <a16:creationId xmlns:a16="http://schemas.microsoft.com/office/drawing/2014/main" id="{4584176E-EA9A-D920-DF63-02771E7C2501}"/>
              </a:ext>
            </a:extLst>
          </p:cNvPr>
          <p:cNvSpPr txBox="1"/>
          <p:nvPr/>
        </p:nvSpPr>
        <p:spPr>
          <a:xfrm>
            <a:off x="701443" y="769403"/>
            <a:ext cx="524380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pp Migration from ConfigMgr </a:t>
            </a:r>
            <a:r>
              <a:rPr lang="nl-BE" sz="48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to Intun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62C6D6B-0443-AD7B-A6B8-DB401D14C3C9}"/>
              </a:ext>
            </a:extLst>
          </p:cNvPr>
          <p:cNvSpPr/>
          <p:nvPr/>
        </p:nvSpPr>
        <p:spPr>
          <a:xfrm>
            <a:off x="5297236" y="6172966"/>
            <a:ext cx="2093494" cy="330913"/>
          </a:xfrm>
          <a:prstGeom prst="round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00772-8187-BD1D-01D6-61D9CB16E9E3}"/>
              </a:ext>
            </a:extLst>
          </p:cNvPr>
          <p:cNvSpPr txBox="1"/>
          <p:nvPr/>
        </p:nvSpPr>
        <p:spPr>
          <a:xfrm>
            <a:off x="5297235" y="6242269"/>
            <a:ext cx="209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Concept Image. Not final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6B24A0-67D2-B904-0917-0092A68DB42E}"/>
              </a:ext>
            </a:extLst>
          </p:cNvPr>
          <p:cNvSpPr txBox="1"/>
          <p:nvPr/>
        </p:nvSpPr>
        <p:spPr>
          <a:xfrm>
            <a:off x="707278" y="4577996"/>
            <a:ext cx="2468946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Current Status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9C61A5-36EA-58BE-0B9B-40CE45BC43AE}"/>
              </a:ext>
            </a:extLst>
          </p:cNvPr>
          <p:cNvSpPr txBox="1"/>
          <p:nvPr/>
        </p:nvSpPr>
        <p:spPr>
          <a:xfrm>
            <a:off x="761999" y="5039661"/>
            <a:ext cx="477512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Private Preview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D15DDC-0A3C-56AE-B5AF-99E947460175}"/>
              </a:ext>
            </a:extLst>
          </p:cNvPr>
          <p:cNvCxnSpPr>
            <a:cxnSpLocks/>
          </p:cNvCxnSpPr>
          <p:nvPr/>
        </p:nvCxnSpPr>
        <p:spPr>
          <a:xfrm>
            <a:off x="819038" y="4428472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95ABBC3-76DF-8E17-0003-10284BED51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2191" y="1042580"/>
            <a:ext cx="4787548" cy="2983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781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00"/>
                            </p:stCondLst>
                            <p:childTnLst>
                              <p:par>
                                <p:cTn id="1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3" grpId="0"/>
      <p:bldP spid="3" grpId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7BDCD-D082-31AE-EDFA-D8656DFE9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!!BG">
            <a:extLst>
              <a:ext uri="{FF2B5EF4-FFF2-40B4-BE49-F238E27FC236}">
                <a16:creationId xmlns:a16="http://schemas.microsoft.com/office/drawing/2014/main" id="{4EEBC0B2-D34C-3806-DAF4-CEB901AF47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1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CA45793B-C70A-2983-95FD-49EF6A4407A8}"/>
              </a:ext>
            </a:extLst>
          </p:cNvPr>
          <p:cNvSpPr/>
          <p:nvPr/>
        </p:nvSpPr>
        <p:spPr>
          <a:xfrm>
            <a:off x="6324600" y="4287384"/>
            <a:ext cx="5143501" cy="1591535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378BCAA-351F-DBD6-11B1-B56A044D380D}"/>
              </a:ext>
            </a:extLst>
          </p:cNvPr>
          <p:cNvSpPr/>
          <p:nvPr/>
        </p:nvSpPr>
        <p:spPr>
          <a:xfrm>
            <a:off x="6164630" y="623634"/>
            <a:ext cx="5462178" cy="3399296"/>
          </a:xfrm>
          <a:prstGeom prst="roundRect">
            <a:avLst>
              <a:gd name="adj" fmla="val 7710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0A3C309-BB01-7B9F-865C-7E1C9D574EEE}"/>
              </a:ext>
            </a:extLst>
          </p:cNvPr>
          <p:cNvSpPr/>
          <p:nvPr/>
        </p:nvSpPr>
        <p:spPr>
          <a:xfrm>
            <a:off x="6404741" y="797410"/>
            <a:ext cx="5002690" cy="3066082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374530-1CB0-8559-8157-5CAA6415AFFA}"/>
              </a:ext>
            </a:extLst>
          </p:cNvPr>
          <p:cNvSpPr txBox="1"/>
          <p:nvPr/>
        </p:nvSpPr>
        <p:spPr>
          <a:xfrm>
            <a:off x="6552191" y="4513172"/>
            <a:ext cx="475972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We’re releasing a catalogue of macOS apps for you to package and deploy to Intune Deploy apps, automate updates, and simplify macOS management through Intune. Discover smoother and smarter patching for mixed environments</a:t>
            </a:r>
          </a:p>
        </p:txBody>
      </p:sp>
      <p:sp>
        <p:nvSpPr>
          <p:cNvPr id="3" name="Tekstvak 59">
            <a:extLst>
              <a:ext uri="{FF2B5EF4-FFF2-40B4-BE49-F238E27FC236}">
                <a16:creationId xmlns:a16="http://schemas.microsoft.com/office/drawing/2014/main" id="{B3995BC9-8327-0DCA-22BD-2249F0B463A1}"/>
              </a:ext>
            </a:extLst>
          </p:cNvPr>
          <p:cNvSpPr txBox="1"/>
          <p:nvPr/>
        </p:nvSpPr>
        <p:spPr>
          <a:xfrm>
            <a:off x="658922" y="875782"/>
            <a:ext cx="488118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54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macOS Apps </a:t>
            </a:r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to Intun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3D6F2B0-C5A0-C4A0-2E18-90372B7D7502}"/>
              </a:ext>
            </a:extLst>
          </p:cNvPr>
          <p:cNvSpPr/>
          <p:nvPr/>
        </p:nvSpPr>
        <p:spPr>
          <a:xfrm>
            <a:off x="5297236" y="6172966"/>
            <a:ext cx="2093494" cy="330913"/>
          </a:xfrm>
          <a:prstGeom prst="round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306BBF-0200-CB49-593D-E01EF78BB702}"/>
              </a:ext>
            </a:extLst>
          </p:cNvPr>
          <p:cNvSpPr txBox="1"/>
          <p:nvPr/>
        </p:nvSpPr>
        <p:spPr>
          <a:xfrm>
            <a:off x="5297235" y="6242269"/>
            <a:ext cx="209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Concept Image. Not final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934E65-B676-CC4E-8CCD-ED2A6EDF0EE4}"/>
              </a:ext>
            </a:extLst>
          </p:cNvPr>
          <p:cNvSpPr txBox="1"/>
          <p:nvPr/>
        </p:nvSpPr>
        <p:spPr>
          <a:xfrm>
            <a:off x="707278" y="4882504"/>
            <a:ext cx="2468946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Current Status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42E097-E70E-50B9-6BAD-C70924AD96EA}"/>
              </a:ext>
            </a:extLst>
          </p:cNvPr>
          <p:cNvSpPr txBox="1"/>
          <p:nvPr/>
        </p:nvSpPr>
        <p:spPr>
          <a:xfrm>
            <a:off x="761999" y="5344169"/>
            <a:ext cx="453523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General Availability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00B98FD-6CEA-2044-3450-4D69F53C7ABE}"/>
              </a:ext>
            </a:extLst>
          </p:cNvPr>
          <p:cNvCxnSpPr>
            <a:cxnSpLocks/>
          </p:cNvCxnSpPr>
          <p:nvPr/>
        </p:nvCxnSpPr>
        <p:spPr>
          <a:xfrm>
            <a:off x="819038" y="4732980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6EDF0090-6E18-D820-A6B1-AFB3644D97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2191" y="979079"/>
            <a:ext cx="4674649" cy="2787521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14FEFFCC-03B7-78BA-9601-B1591F91010C}"/>
              </a:ext>
            </a:extLst>
          </p:cNvPr>
          <p:cNvGrpSpPr/>
          <p:nvPr/>
        </p:nvGrpSpPr>
        <p:grpSpPr>
          <a:xfrm rot="20405073">
            <a:off x="5533979" y="2330577"/>
            <a:ext cx="1161190" cy="1162453"/>
            <a:chOff x="4136045" y="3632764"/>
            <a:chExt cx="1161190" cy="1162453"/>
          </a:xfrm>
        </p:grpSpPr>
        <p:sp>
          <p:nvSpPr>
            <p:cNvPr id="16" name="Rechthoek: afgeronde hoeken 7">
              <a:extLst>
                <a:ext uri="{FF2B5EF4-FFF2-40B4-BE49-F238E27FC236}">
                  <a16:creationId xmlns:a16="http://schemas.microsoft.com/office/drawing/2014/main" id="{932581C1-CCF4-583E-1B49-2EEF66039A7E}"/>
                </a:ext>
              </a:extLst>
            </p:cNvPr>
            <p:cNvSpPr/>
            <p:nvPr/>
          </p:nvSpPr>
          <p:spPr>
            <a:xfrm>
              <a:off x="4136045" y="3632764"/>
              <a:ext cx="1161190" cy="1162453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18" name="Picture 17" descr="A blue heart with a bite mark&#10;&#10;AI-generated content may be incorrect.">
              <a:extLst>
                <a:ext uri="{FF2B5EF4-FFF2-40B4-BE49-F238E27FC236}">
                  <a16:creationId xmlns:a16="http://schemas.microsoft.com/office/drawing/2014/main" id="{8AC6870D-BFAD-C630-CFD7-5780A6E56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2569" y="3863625"/>
              <a:ext cx="977375" cy="6752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589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00"/>
                            </p:stCondLst>
                            <p:childTnLst>
                              <p:par>
                                <p:cTn id="1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3" grpId="0"/>
      <p:bldP spid="3" grpId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2247B-6406-FEB9-901D-5F9F70FA3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!!BG">
            <a:extLst>
              <a:ext uri="{FF2B5EF4-FFF2-40B4-BE49-F238E27FC236}">
                <a16:creationId xmlns:a16="http://schemas.microsoft.com/office/drawing/2014/main" id="{638DBC3B-5290-39EC-268A-8606F50B4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1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CB007C80-5C39-D653-47D5-9A978D78C0FE}"/>
              </a:ext>
            </a:extLst>
          </p:cNvPr>
          <p:cNvSpPr/>
          <p:nvPr/>
        </p:nvSpPr>
        <p:spPr>
          <a:xfrm>
            <a:off x="6324600" y="3840038"/>
            <a:ext cx="5143501" cy="2038882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88F1E87-D5D7-A30E-9F15-727D13729001}"/>
              </a:ext>
            </a:extLst>
          </p:cNvPr>
          <p:cNvSpPr/>
          <p:nvPr/>
        </p:nvSpPr>
        <p:spPr>
          <a:xfrm>
            <a:off x="6164630" y="611522"/>
            <a:ext cx="5462178" cy="3042628"/>
          </a:xfrm>
          <a:prstGeom prst="roundRect">
            <a:avLst>
              <a:gd name="adj" fmla="val 8825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6FD9DB08-3B99-D9A1-BBA1-30CB552032B5}"/>
              </a:ext>
            </a:extLst>
          </p:cNvPr>
          <p:cNvSpPr/>
          <p:nvPr/>
        </p:nvSpPr>
        <p:spPr>
          <a:xfrm>
            <a:off x="6404741" y="797410"/>
            <a:ext cx="5002690" cy="2671096"/>
          </a:xfrm>
          <a:prstGeom prst="roundRect">
            <a:avLst>
              <a:gd name="adj" fmla="val 4913"/>
            </a:avLst>
          </a:prstGeom>
          <a:solidFill>
            <a:srgbClr val="161521"/>
          </a:solidFill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36D03-3AF8-D738-9187-6496670ACC3C}"/>
              </a:ext>
            </a:extLst>
          </p:cNvPr>
          <p:cNvSpPr txBox="1"/>
          <p:nvPr/>
        </p:nvSpPr>
        <p:spPr>
          <a:xfrm>
            <a:off x="6497692" y="3994306"/>
            <a:ext cx="484450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Building on our much-loved reporting solution for </a:t>
            </a:r>
            <a:r>
              <a:rPr lang="en-US" sz="1200" err="1">
                <a:solidFill>
                  <a:schemeClr val="bg1"/>
                </a:solidFill>
              </a:rPr>
              <a:t>ConfigMgr</a:t>
            </a:r>
            <a:r>
              <a:rPr lang="en-US" sz="1200">
                <a:solidFill>
                  <a:schemeClr val="bg1"/>
                </a:solidFill>
              </a:rPr>
              <a:t>, </a:t>
            </a:r>
            <a:r>
              <a:rPr lang="en-US" sz="1200" spc="-30">
                <a:solidFill>
                  <a:schemeClr val="bg1"/>
                </a:solidFill>
              </a:rPr>
              <a:t>we are working to bring our Advanced Insights solution to Intune</a:t>
            </a:r>
          </a:p>
          <a:p>
            <a:r>
              <a:rPr lang="en-US" sz="1200">
                <a:solidFill>
                  <a:schemeClr val="bg1"/>
                </a:solidFill>
              </a:rPr>
              <a:t> </a:t>
            </a:r>
          </a:p>
          <a:p>
            <a:r>
              <a:rPr lang="en-US" sz="1200">
                <a:solidFill>
                  <a:schemeClr val="bg1"/>
                </a:solidFill>
              </a:rPr>
              <a:t>Advanced Insights for Intune gives you the power to finally </a:t>
            </a:r>
            <a:r>
              <a:rPr lang="en-US" sz="1200" spc="-20">
                <a:solidFill>
                  <a:schemeClr val="bg1"/>
                </a:solidFill>
              </a:rPr>
              <a:t>make sense of your Intune data without the overhead of data </a:t>
            </a:r>
            <a:r>
              <a:rPr lang="en-US" sz="1200">
                <a:solidFill>
                  <a:schemeClr val="bg1"/>
                </a:solidFill>
              </a:rPr>
              <a:t>exports, workarounds or guesswork </a:t>
            </a:r>
          </a:p>
          <a:p>
            <a:endParaRPr lang="en-US" sz="1200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</a:rPr>
              <a:t>Additionally, it will bring patch compliance, inventory and beautiful dashboards inside the Patch My PC Cloud Portal</a:t>
            </a:r>
          </a:p>
        </p:txBody>
      </p:sp>
      <p:sp>
        <p:nvSpPr>
          <p:cNvPr id="3" name="Tekstvak 59">
            <a:extLst>
              <a:ext uri="{FF2B5EF4-FFF2-40B4-BE49-F238E27FC236}">
                <a16:creationId xmlns:a16="http://schemas.microsoft.com/office/drawing/2014/main" id="{61463DEB-C095-D3D6-9F95-0A8C5073C56B}"/>
              </a:ext>
            </a:extLst>
          </p:cNvPr>
          <p:cNvSpPr txBox="1"/>
          <p:nvPr/>
        </p:nvSpPr>
        <p:spPr>
          <a:xfrm>
            <a:off x="701443" y="769403"/>
            <a:ext cx="524380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54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dvanced Insight</a:t>
            </a:r>
          </a:p>
          <a:p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for Intun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733CFDB-7FED-07F2-B012-3A1233AEEE71}"/>
              </a:ext>
            </a:extLst>
          </p:cNvPr>
          <p:cNvSpPr/>
          <p:nvPr/>
        </p:nvSpPr>
        <p:spPr>
          <a:xfrm>
            <a:off x="5297236" y="6172966"/>
            <a:ext cx="2093494" cy="330913"/>
          </a:xfrm>
          <a:prstGeom prst="round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3ADC57-56B6-2674-96B7-AB7E67634C20}"/>
              </a:ext>
            </a:extLst>
          </p:cNvPr>
          <p:cNvSpPr txBox="1"/>
          <p:nvPr/>
        </p:nvSpPr>
        <p:spPr>
          <a:xfrm>
            <a:off x="5297235" y="6242269"/>
            <a:ext cx="209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Concept Image. Not final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9A1FD7-5154-C8B6-5F14-CAD53905B36E}"/>
              </a:ext>
            </a:extLst>
          </p:cNvPr>
          <p:cNvSpPr txBox="1"/>
          <p:nvPr/>
        </p:nvSpPr>
        <p:spPr>
          <a:xfrm>
            <a:off x="707278" y="5107263"/>
            <a:ext cx="2468946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Current Status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7D1CFE-ED89-DAE3-95A9-2D252605AA3C}"/>
              </a:ext>
            </a:extLst>
          </p:cNvPr>
          <p:cNvSpPr txBox="1"/>
          <p:nvPr/>
        </p:nvSpPr>
        <p:spPr>
          <a:xfrm>
            <a:off x="761999" y="5568928"/>
            <a:ext cx="453523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Private Preview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799A4F-99B6-F708-A8F8-7659DD3DF740}"/>
              </a:ext>
            </a:extLst>
          </p:cNvPr>
          <p:cNvCxnSpPr>
            <a:cxnSpLocks/>
          </p:cNvCxnSpPr>
          <p:nvPr/>
        </p:nvCxnSpPr>
        <p:spPr>
          <a:xfrm>
            <a:off x="819038" y="4957739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CE20071-3F49-18E7-CCD9-F0590D31CB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8499" y="895350"/>
            <a:ext cx="4826429" cy="245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946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00"/>
                            </p:stCondLst>
                            <p:childTnLst>
                              <p:par>
                                <p:cTn id="1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3" grpId="0"/>
      <p:bldP spid="3" grpId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2B8FB8-11ED-15C1-C097-29A1ECB44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!!BG">
            <a:extLst>
              <a:ext uri="{FF2B5EF4-FFF2-40B4-BE49-F238E27FC236}">
                <a16:creationId xmlns:a16="http://schemas.microsoft.com/office/drawing/2014/main" id="{6F5B70D2-BC59-9BD9-C3A5-AF37E0B2BE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-1722" y="8381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5" name="Rechthoek: afgeronde hoeken 60">
            <a:extLst>
              <a:ext uri="{FF2B5EF4-FFF2-40B4-BE49-F238E27FC236}">
                <a16:creationId xmlns:a16="http://schemas.microsoft.com/office/drawing/2014/main" id="{2B291605-A5C4-A3D8-A390-AD1472B1076A}"/>
              </a:ext>
            </a:extLst>
          </p:cNvPr>
          <p:cNvSpPr/>
          <p:nvPr/>
        </p:nvSpPr>
        <p:spPr>
          <a:xfrm>
            <a:off x="6324600" y="4057272"/>
            <a:ext cx="5143501" cy="1821647"/>
          </a:xfrm>
          <a:prstGeom prst="roundRect">
            <a:avLst>
              <a:gd name="adj" fmla="val 6634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9C223737-0A8A-B818-02D9-F943D659946C}"/>
              </a:ext>
            </a:extLst>
          </p:cNvPr>
          <p:cNvSpPr/>
          <p:nvPr/>
        </p:nvSpPr>
        <p:spPr>
          <a:xfrm>
            <a:off x="6164630" y="611521"/>
            <a:ext cx="5462178" cy="3251009"/>
          </a:xfrm>
          <a:prstGeom prst="roundRect">
            <a:avLst>
              <a:gd name="adj" fmla="val 8825"/>
            </a:avLst>
          </a:prstGeom>
          <a:solidFill>
            <a:srgbClr val="006094">
              <a:alpha val="9804"/>
            </a:srgbClr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DAB1B9-3C8B-DC8C-9AAB-3C3CC3DC5213}"/>
              </a:ext>
            </a:extLst>
          </p:cNvPr>
          <p:cNvSpPr txBox="1"/>
          <p:nvPr/>
        </p:nvSpPr>
        <p:spPr>
          <a:xfrm>
            <a:off x="6534027" y="4216653"/>
            <a:ext cx="47960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CVE Insights highlights new and emerging threats, shows when Patch My PC has a fix, and tells you if it applies to your environment - so you can patch what matters, faster.</a:t>
            </a:r>
            <a:br>
              <a:rPr lang="en-US" sz="1200">
                <a:solidFill>
                  <a:schemeClr val="bg1"/>
                </a:solidFill>
              </a:rPr>
            </a:b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CVE Insights is our mobile 1st application that will provide IT &amp; Security leadership personas a real-time assessment of CVEs impacting their organization and remediation status of those CVE's in their Org.</a:t>
            </a:r>
          </a:p>
        </p:txBody>
      </p:sp>
      <p:sp>
        <p:nvSpPr>
          <p:cNvPr id="3" name="Tekstvak 59">
            <a:extLst>
              <a:ext uri="{FF2B5EF4-FFF2-40B4-BE49-F238E27FC236}">
                <a16:creationId xmlns:a16="http://schemas.microsoft.com/office/drawing/2014/main" id="{88389136-5C82-2C7F-D4BE-EC5DCB37D50E}"/>
              </a:ext>
            </a:extLst>
          </p:cNvPr>
          <p:cNvSpPr txBox="1"/>
          <p:nvPr/>
        </p:nvSpPr>
        <p:spPr>
          <a:xfrm>
            <a:off x="701443" y="769403"/>
            <a:ext cx="5243809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BE" sz="54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CVE</a:t>
            </a:r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r>
              <a:rPr lang="nl-BE" sz="5400" b="1" err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Insights</a:t>
            </a:r>
            <a:endParaRPr lang="nl-BE" sz="5400" b="1" err="1">
              <a:solidFill>
                <a:schemeClr val="bg2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cs typeface="Poppin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CB2AC64-1A1B-7C36-B71D-4221C01E6508}"/>
              </a:ext>
            </a:extLst>
          </p:cNvPr>
          <p:cNvSpPr/>
          <p:nvPr/>
        </p:nvSpPr>
        <p:spPr>
          <a:xfrm>
            <a:off x="5297236" y="6172966"/>
            <a:ext cx="2093494" cy="330913"/>
          </a:xfrm>
          <a:prstGeom prst="round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963E83-1270-1B99-BAE5-43E70E52F899}"/>
              </a:ext>
            </a:extLst>
          </p:cNvPr>
          <p:cNvSpPr txBox="1"/>
          <p:nvPr/>
        </p:nvSpPr>
        <p:spPr>
          <a:xfrm>
            <a:off x="5297235" y="6242269"/>
            <a:ext cx="209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Concept Image. Not final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EB3BDE-B09E-3DC2-3BB7-287CB006E245}"/>
              </a:ext>
            </a:extLst>
          </p:cNvPr>
          <p:cNvSpPr txBox="1"/>
          <p:nvPr/>
        </p:nvSpPr>
        <p:spPr>
          <a:xfrm>
            <a:off x="707278" y="5107263"/>
            <a:ext cx="2468946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Current Status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679C9B-3B64-487B-A0BB-9C671A709DE5}"/>
              </a:ext>
            </a:extLst>
          </p:cNvPr>
          <p:cNvSpPr txBox="1"/>
          <p:nvPr/>
        </p:nvSpPr>
        <p:spPr>
          <a:xfrm>
            <a:off x="761999" y="5568928"/>
            <a:ext cx="453523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General Availability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3F7CC6D-3A62-66D6-AC41-31B96B0DF157}"/>
              </a:ext>
            </a:extLst>
          </p:cNvPr>
          <p:cNvCxnSpPr>
            <a:cxnSpLocks/>
          </p:cNvCxnSpPr>
          <p:nvPr/>
        </p:nvCxnSpPr>
        <p:spPr>
          <a:xfrm>
            <a:off x="819038" y="4957739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6" name="Online Media 6" title="CVE Insights MMS 2025 - Promo | Patch My PC">
            <a:hlinkClick r:id="" action="ppaction://media"/>
            <a:extLst>
              <a:ext uri="{FF2B5EF4-FFF2-40B4-BE49-F238E27FC236}">
                <a16:creationId xmlns:a16="http://schemas.microsoft.com/office/drawing/2014/main" id="{01236D5A-C07E-007B-0433-430C9B555BF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6455583" y="828007"/>
            <a:ext cx="4915512" cy="2775093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B68920F-1020-D972-95B2-A8FA1D811DD8}"/>
              </a:ext>
            </a:extLst>
          </p:cNvPr>
          <p:cNvSpPr/>
          <p:nvPr/>
        </p:nvSpPr>
        <p:spPr>
          <a:xfrm>
            <a:off x="6404741" y="797410"/>
            <a:ext cx="5002690" cy="2854032"/>
          </a:xfrm>
          <a:prstGeom prst="roundRect">
            <a:avLst>
              <a:gd name="adj" fmla="val 4913"/>
            </a:avLst>
          </a:prstGeom>
          <a:noFill/>
          <a:ln w="127000">
            <a:gradFill flip="none" rotWithShape="1">
              <a:gsLst>
                <a:gs pos="42000">
                  <a:srgbClr val="003F61"/>
                </a:gs>
                <a:gs pos="0">
                  <a:srgbClr val="006094"/>
                </a:gs>
                <a:gs pos="81000">
                  <a:srgbClr val="006094"/>
                </a:gs>
                <a:gs pos="100000">
                  <a:srgbClr val="003F61"/>
                </a:gs>
              </a:gsLst>
              <a:lin ang="10800000" scaled="0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D7DA6E9-63DD-4937-3BB8-EF982BFE5EC1}"/>
              </a:ext>
            </a:extLst>
          </p:cNvPr>
          <p:cNvGrpSpPr/>
          <p:nvPr/>
        </p:nvGrpSpPr>
        <p:grpSpPr>
          <a:xfrm>
            <a:off x="826462" y="1912461"/>
            <a:ext cx="5231189" cy="338554"/>
            <a:chOff x="826462" y="1912461"/>
            <a:chExt cx="5231189" cy="33855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41D54D7-5C9C-5920-E58B-B5E58FD9D949}"/>
                </a:ext>
              </a:extLst>
            </p:cNvPr>
            <p:cNvSpPr txBox="1"/>
            <p:nvPr/>
          </p:nvSpPr>
          <p:spPr>
            <a:xfrm>
              <a:off x="1136111" y="1912461"/>
              <a:ext cx="492154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spc="-20">
                  <a:solidFill>
                    <a:schemeClr val="bg1"/>
                  </a:solidFill>
                </a:rPr>
                <a:t>Bridge the gap between Security and IT teams</a:t>
              </a:r>
              <a:endParaRPr lang="en-US" sz="2000" spc="-2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A4B2095-CE5A-99CD-9BE6-1667354DB4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6462" y="1945260"/>
              <a:ext cx="250099" cy="250099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E3814DF-FF84-5A38-F230-C563D2793F35}"/>
              </a:ext>
            </a:extLst>
          </p:cNvPr>
          <p:cNvGrpSpPr/>
          <p:nvPr/>
        </p:nvGrpSpPr>
        <p:grpSpPr>
          <a:xfrm>
            <a:off x="826462" y="2456135"/>
            <a:ext cx="5231189" cy="338554"/>
            <a:chOff x="826462" y="2456135"/>
            <a:chExt cx="5231189" cy="33855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BF49285-61E6-BCB7-10EC-8947DBEDFE9C}"/>
                </a:ext>
              </a:extLst>
            </p:cNvPr>
            <p:cNvSpPr txBox="1"/>
            <p:nvPr/>
          </p:nvSpPr>
          <p:spPr>
            <a:xfrm>
              <a:off x="1136111" y="2456135"/>
              <a:ext cx="492154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>
                  <a:solidFill>
                    <a:schemeClr val="bg1"/>
                  </a:solidFill>
                </a:rPr>
                <a:t>Customize alerts based on your environment</a:t>
              </a:r>
              <a:endParaRPr lang="en-US" sz="200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64F10B8-DF06-FBBB-0D24-C0BF4BE06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6462" y="2502608"/>
              <a:ext cx="250099" cy="250099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35228C0-21BA-E12F-5316-50DDA795B88C}"/>
              </a:ext>
            </a:extLst>
          </p:cNvPr>
          <p:cNvGrpSpPr/>
          <p:nvPr/>
        </p:nvGrpSpPr>
        <p:grpSpPr>
          <a:xfrm>
            <a:off x="825001" y="2999809"/>
            <a:ext cx="5180810" cy="584775"/>
            <a:chOff x="825001" y="2999809"/>
            <a:chExt cx="5180810" cy="58477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BF01E72-DA75-3048-95DD-6072F710F873}"/>
                </a:ext>
              </a:extLst>
            </p:cNvPr>
            <p:cNvSpPr txBox="1"/>
            <p:nvPr/>
          </p:nvSpPr>
          <p:spPr>
            <a:xfrm>
              <a:off x="1136111" y="2999809"/>
              <a:ext cx="48697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>
                  <a:solidFill>
                    <a:schemeClr val="bg1"/>
                  </a:solidFill>
                </a:rPr>
                <a:t>Get notified of new vulnerabilities AND </a:t>
              </a:r>
              <a:r>
                <a:rPr lang="en-GB" sz="1600" spc="-20">
                  <a:solidFill>
                    <a:schemeClr val="bg1"/>
                  </a:solidFill>
                </a:rPr>
                <a:t>whether you're already deploying the patches</a:t>
              </a:r>
              <a:endParaRPr lang="en-US" sz="2000" spc="-20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5636D0FF-041C-E9BD-9AFC-F59182986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5001" y="3034801"/>
              <a:ext cx="257175" cy="257175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9ECB443-C82D-D7EF-D130-3EC86BF6785B}"/>
              </a:ext>
            </a:extLst>
          </p:cNvPr>
          <p:cNvGrpSpPr/>
          <p:nvPr/>
        </p:nvGrpSpPr>
        <p:grpSpPr>
          <a:xfrm>
            <a:off x="859836" y="3789705"/>
            <a:ext cx="5145975" cy="584775"/>
            <a:chOff x="859836" y="3789705"/>
            <a:chExt cx="5145975" cy="584775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8093FB7-60CF-FECC-2EBA-58BD95131448}"/>
                </a:ext>
              </a:extLst>
            </p:cNvPr>
            <p:cNvSpPr txBox="1"/>
            <p:nvPr/>
          </p:nvSpPr>
          <p:spPr>
            <a:xfrm>
              <a:off x="1136111" y="3789705"/>
              <a:ext cx="48697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>
                  <a:solidFill>
                    <a:schemeClr val="bg1"/>
                  </a:solidFill>
                </a:rPr>
                <a:t>Executive summaries curated for your environment to drive smarter decisions</a:t>
              </a:r>
              <a:endParaRPr lang="en-US" sz="2000"/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C91D1A53-A988-8F9F-C4FB-D0F73BA8D2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59836" y="3827282"/>
              <a:ext cx="257175" cy="2571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1240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repeatCount="2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00"/>
                            </p:stCondLst>
                            <p:childTnLst>
                              <p:par>
                                <p:cTn id="1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1BBC9B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video>
              <p:cMediaNode vol="80000">
                <p:cTn id="31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</p:childTnLst>
        </p:cTn>
      </p:par>
    </p:tnLst>
    <p:bldLst>
      <p:bldP spid="15" grpId="0" animBg="1"/>
      <p:bldP spid="15" grpId="1" animBg="1"/>
      <p:bldP spid="3" grpId="0"/>
      <p:bldP spid="3" grpId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9A4DC-D2D1-088B-4B60-2A0AB59B86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!!BG">
            <a:extLst>
              <a:ext uri="{FF2B5EF4-FFF2-40B4-BE49-F238E27FC236}">
                <a16:creationId xmlns:a16="http://schemas.microsoft.com/office/drawing/2014/main" id="{D260CD05-4ECF-78C4-7476-57A7EDCF72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-1722" y="8381"/>
            <a:ext cx="12193722" cy="6849619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8" name="Rechthoek: afgeronde hoeken 26">
            <a:extLst>
              <a:ext uri="{FF2B5EF4-FFF2-40B4-BE49-F238E27FC236}">
                <a16:creationId xmlns:a16="http://schemas.microsoft.com/office/drawing/2014/main" id="{50F47869-7091-A816-B2CF-F88EBE1757DA}"/>
              </a:ext>
            </a:extLst>
          </p:cNvPr>
          <p:cNvSpPr/>
          <p:nvPr/>
        </p:nvSpPr>
        <p:spPr>
          <a:xfrm>
            <a:off x="5089305" y="2023583"/>
            <a:ext cx="6643025" cy="1968050"/>
          </a:xfrm>
          <a:prstGeom prst="roundRect">
            <a:avLst>
              <a:gd name="adj" fmla="val 13710"/>
            </a:avLst>
          </a:prstGeom>
          <a:solidFill>
            <a:srgbClr val="13293F">
              <a:alpha val="17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5E8CC50-BFB5-3B25-F8D4-C3338603AB0B}"/>
              </a:ext>
            </a:extLst>
          </p:cNvPr>
          <p:cNvSpPr txBox="1"/>
          <p:nvPr/>
        </p:nvSpPr>
        <p:spPr>
          <a:xfrm>
            <a:off x="1009159" y="2113153"/>
            <a:ext cx="3184936" cy="1796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Enterprise Premium customers will be able to reach out to Patch My PC Support for assistance with the PowerShell App Deployment Toolkit.</a:t>
            </a:r>
          </a:p>
        </p:txBody>
      </p:sp>
      <p:sp>
        <p:nvSpPr>
          <p:cNvPr id="4" name="Tekstvak 59">
            <a:extLst>
              <a:ext uri="{FF2B5EF4-FFF2-40B4-BE49-F238E27FC236}">
                <a16:creationId xmlns:a16="http://schemas.microsoft.com/office/drawing/2014/main" id="{4595E39A-EEBF-0ECE-6930-D933DBDFCB12}"/>
              </a:ext>
            </a:extLst>
          </p:cNvPr>
          <p:cNvSpPr txBox="1"/>
          <p:nvPr/>
        </p:nvSpPr>
        <p:spPr>
          <a:xfrm>
            <a:off x="685667" y="744857"/>
            <a:ext cx="8900393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BE" sz="54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Commercial </a:t>
            </a:r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Support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64E1037-2C8C-712E-2D99-B7A908AE65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00297" y="2503974"/>
            <a:ext cx="5890111" cy="100726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5F4D26D-CFAD-73F5-62F5-5B1A78FDA10E}"/>
              </a:ext>
            </a:extLst>
          </p:cNvPr>
          <p:cNvSpPr txBox="1"/>
          <p:nvPr/>
        </p:nvSpPr>
        <p:spPr>
          <a:xfrm>
            <a:off x="707278" y="4901372"/>
            <a:ext cx="2468946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Current Status:</a:t>
            </a:r>
            <a:endParaRPr lang="en-US" sz="2400">
              <a:solidFill>
                <a:schemeClr val="bg1"/>
              </a:solidFill>
              <a:cs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D5A4E-DD02-801E-C751-52DCC3CC875A}"/>
              </a:ext>
            </a:extLst>
          </p:cNvPr>
          <p:cNvSpPr txBox="1"/>
          <p:nvPr/>
        </p:nvSpPr>
        <p:spPr>
          <a:xfrm>
            <a:off x="761999" y="5363037"/>
            <a:ext cx="3803479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General Availability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040B8D7-E908-37C4-3358-203EE50966C4}"/>
              </a:ext>
            </a:extLst>
          </p:cNvPr>
          <p:cNvCxnSpPr>
            <a:cxnSpLocks/>
          </p:cNvCxnSpPr>
          <p:nvPr/>
        </p:nvCxnSpPr>
        <p:spPr>
          <a:xfrm>
            <a:off x="819038" y="4751848"/>
            <a:ext cx="61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!!LIJN_3">
            <a:extLst>
              <a:ext uri="{FF2B5EF4-FFF2-40B4-BE49-F238E27FC236}">
                <a16:creationId xmlns:a16="http://schemas.microsoft.com/office/drawing/2014/main" id="{2B3E173C-27FE-675F-EF30-29804BEF6C81}"/>
              </a:ext>
            </a:extLst>
          </p:cNvPr>
          <p:cNvCxnSpPr>
            <a:cxnSpLocks/>
          </p:cNvCxnSpPr>
          <p:nvPr/>
        </p:nvCxnSpPr>
        <p:spPr>
          <a:xfrm>
            <a:off x="940415" y="2115338"/>
            <a:ext cx="28754" cy="1684742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527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repeatCount="2000" autoRev="1" fill="hold" grpId="1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00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23" presetClass="entr" presetSubtype="16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6" presetClass="emph" presetSubtype="0" fill="hold" grpId="1" nodeType="withEffect" p14:presetBounceEnd="99000">
                                      <p:stCondLst>
                                        <p:cond delay="6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21" dur="1000" fill="hold"/>
                                            <p:tgtEl>
                                              <p:spTgt spid="1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2" presetID="6" presetClass="emph" presetSubtype="0" accel="50000" decel="5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3" dur="250" fill="hold"/>
                                            <p:tgtEl>
                                              <p:spTgt spid="1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1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6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 animBg="1"/>
          <p:bldP spid="18" grpId="1" animBg="1"/>
          <p:bldP spid="18" grpId="2" animBg="1"/>
          <p:bldP spid="4" grpId="0"/>
          <p:bldP spid="4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repeatCount="2000" autoRev="1" fill="hold" grpId="1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00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23" presetClass="entr" presetSubtype="16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6" presetClass="emph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1" dur="1000" fill="hold"/>
                                            <p:tgtEl>
                                              <p:spTgt spid="1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2" presetID="6" presetClass="emph" presetSubtype="0" accel="50000" decel="5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3" dur="250" fill="hold"/>
                                            <p:tgtEl>
                                              <p:spTgt spid="1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1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6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 animBg="1"/>
          <p:bldP spid="18" grpId="1" animBg="1"/>
          <p:bldP spid="18" grpId="2" animBg="1"/>
          <p:bldP spid="4" grpId="0"/>
          <p:bldP spid="4" grpId="1"/>
        </p:bldLst>
      </p:timing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!!BG">
            <a:extLst>
              <a:ext uri="{FF2B5EF4-FFF2-40B4-BE49-F238E27FC236}">
                <a16:creationId xmlns:a16="http://schemas.microsoft.com/office/drawing/2014/main" id="{0081032D-0015-70DB-1513-3582F3395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5370" y="-2899"/>
            <a:ext cx="12197369" cy="686089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pic>
        <p:nvPicPr>
          <p:cNvPr id="5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ED697A96-A475-312E-3850-BCEEC83903AA}"/>
              </a:ext>
            </a:extLst>
          </p:cNvPr>
          <p:cNvPicPr/>
          <p:nvPr/>
        </p:nvPicPr>
        <p:blipFill rotWithShape="1">
          <a:blip r:embed="rId3">
            <a:alphaModFix amt="11000"/>
          </a:blip>
          <a:srcRect l="9834" t="-813"/>
          <a:stretch/>
        </p:blipFill>
        <p:spPr>
          <a:xfrm>
            <a:off x="0" y="-2899"/>
            <a:ext cx="12192000" cy="6860899"/>
          </a:xfrm>
          <a:prstGeom prst="rect">
            <a:avLst/>
          </a:prstGeom>
          <a:noFill/>
          <a:effectLst/>
        </p:spPr>
      </p:pic>
      <p:grpSp>
        <p:nvGrpSpPr>
          <p:cNvPr id="6" name="Groep 5">
            <a:extLst>
              <a:ext uri="{FF2B5EF4-FFF2-40B4-BE49-F238E27FC236}">
                <a16:creationId xmlns:a16="http://schemas.microsoft.com/office/drawing/2014/main" id="{F40E27B9-C58B-EBE2-3615-93B98AD961F9}"/>
              </a:ext>
            </a:extLst>
          </p:cNvPr>
          <p:cNvGrpSpPr/>
          <p:nvPr/>
        </p:nvGrpSpPr>
        <p:grpSpPr>
          <a:xfrm>
            <a:off x="3960203" y="771953"/>
            <a:ext cx="4262578" cy="862147"/>
            <a:chOff x="1766028" y="2800016"/>
            <a:chExt cx="1981830" cy="707885"/>
          </a:xfrm>
        </p:grpSpPr>
        <p:sp>
          <p:nvSpPr>
            <p:cNvPr id="7" name="Rechthoek: afgeronde hoeken 6">
              <a:extLst>
                <a:ext uri="{FF2B5EF4-FFF2-40B4-BE49-F238E27FC236}">
                  <a16:creationId xmlns:a16="http://schemas.microsoft.com/office/drawing/2014/main" id="{A42E2035-C32D-C913-E367-EEAE254DDD3A}"/>
                </a:ext>
              </a:extLst>
            </p:cNvPr>
            <p:cNvSpPr/>
            <p:nvPr/>
          </p:nvSpPr>
          <p:spPr>
            <a:xfrm>
              <a:off x="1933734" y="2805474"/>
              <a:ext cx="1634258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600"/>
            </a:p>
          </p:txBody>
        </p:sp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8210E167-49C1-655B-61E8-5CA0047DAC3D}"/>
                </a:ext>
              </a:extLst>
            </p:cNvPr>
            <p:cNvSpPr txBox="1"/>
            <p:nvPr/>
          </p:nvSpPr>
          <p:spPr>
            <a:xfrm>
              <a:off x="1766028" y="2800016"/>
              <a:ext cx="1981830" cy="6823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800" b="1">
                  <a:solidFill>
                    <a:schemeClr val="bg1"/>
                  </a:solidFill>
                </a:rPr>
                <a:t>Next steps</a:t>
              </a:r>
            </a:p>
          </p:txBody>
        </p:sp>
      </p:grp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50D0E083-5BF9-A5C7-BBD3-E8EE46359DAE}"/>
              </a:ext>
            </a:extLst>
          </p:cNvPr>
          <p:cNvSpPr/>
          <p:nvPr/>
        </p:nvSpPr>
        <p:spPr>
          <a:xfrm>
            <a:off x="1320808" y="2377801"/>
            <a:ext cx="4017010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86F41C02-547A-0EC1-CB6C-28D04E49C1BF}"/>
              </a:ext>
            </a:extLst>
          </p:cNvPr>
          <p:cNvSpPr txBox="1"/>
          <p:nvPr/>
        </p:nvSpPr>
        <p:spPr>
          <a:xfrm>
            <a:off x="1251031" y="1824079"/>
            <a:ext cx="135559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9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1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663CD1C4-D770-37B8-6A29-75710AFC0724}"/>
              </a:ext>
            </a:extLst>
          </p:cNvPr>
          <p:cNvSpPr txBox="1"/>
          <p:nvPr/>
        </p:nvSpPr>
        <p:spPr>
          <a:xfrm>
            <a:off x="1625608" y="3046325"/>
            <a:ext cx="25519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Start a trial</a:t>
            </a:r>
          </a:p>
        </p:txBody>
      </p:sp>
      <p:sp>
        <p:nvSpPr>
          <p:cNvPr id="14" name="Rechthoek: afgeronde hoeken 13">
            <a:extLst>
              <a:ext uri="{FF2B5EF4-FFF2-40B4-BE49-F238E27FC236}">
                <a16:creationId xmlns:a16="http://schemas.microsoft.com/office/drawing/2014/main" id="{BDEBAF61-A83D-66B8-8A88-89DE67ADA6FF}"/>
              </a:ext>
            </a:extLst>
          </p:cNvPr>
          <p:cNvSpPr/>
          <p:nvPr/>
        </p:nvSpPr>
        <p:spPr>
          <a:xfrm>
            <a:off x="4650403" y="2636325"/>
            <a:ext cx="878450" cy="87940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16" name="Rechthoek: afgeronde hoeken 15">
            <a:extLst>
              <a:ext uri="{FF2B5EF4-FFF2-40B4-BE49-F238E27FC236}">
                <a16:creationId xmlns:a16="http://schemas.microsoft.com/office/drawing/2014/main" id="{75DC22D6-931B-BD5A-B715-6B009F1443B2}"/>
              </a:ext>
            </a:extLst>
          </p:cNvPr>
          <p:cNvSpPr/>
          <p:nvPr/>
        </p:nvSpPr>
        <p:spPr>
          <a:xfrm>
            <a:off x="6159743" y="2377801"/>
            <a:ext cx="4017010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81DE13B3-2431-86C1-82A4-9F262EE8B639}"/>
              </a:ext>
            </a:extLst>
          </p:cNvPr>
          <p:cNvSpPr txBox="1"/>
          <p:nvPr/>
        </p:nvSpPr>
        <p:spPr>
          <a:xfrm>
            <a:off x="6089966" y="1824079"/>
            <a:ext cx="135559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9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2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74323B35-5F67-653C-2E44-9B882AA5048F}"/>
              </a:ext>
            </a:extLst>
          </p:cNvPr>
          <p:cNvSpPr txBox="1"/>
          <p:nvPr/>
        </p:nvSpPr>
        <p:spPr>
          <a:xfrm>
            <a:off x="6358497" y="3047631"/>
            <a:ext cx="330326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Book a setup call</a:t>
            </a:r>
          </a:p>
        </p:txBody>
      </p:sp>
      <p:sp>
        <p:nvSpPr>
          <p:cNvPr id="19" name="Rechthoek: afgeronde hoeken 18">
            <a:extLst>
              <a:ext uri="{FF2B5EF4-FFF2-40B4-BE49-F238E27FC236}">
                <a16:creationId xmlns:a16="http://schemas.microsoft.com/office/drawing/2014/main" id="{494A40CD-87C2-87C4-676C-59BFFFFD484E}"/>
              </a:ext>
            </a:extLst>
          </p:cNvPr>
          <p:cNvSpPr/>
          <p:nvPr/>
        </p:nvSpPr>
        <p:spPr>
          <a:xfrm>
            <a:off x="9489338" y="2636325"/>
            <a:ext cx="878450" cy="87940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26" name="Rechthoek: afgeronde hoeken 25">
            <a:extLst>
              <a:ext uri="{FF2B5EF4-FFF2-40B4-BE49-F238E27FC236}">
                <a16:creationId xmlns:a16="http://schemas.microsoft.com/office/drawing/2014/main" id="{78A339FD-A07F-5862-F5F6-D07A9D844F2C}"/>
              </a:ext>
            </a:extLst>
          </p:cNvPr>
          <p:cNvSpPr/>
          <p:nvPr/>
        </p:nvSpPr>
        <p:spPr>
          <a:xfrm>
            <a:off x="4650403" y="4713062"/>
            <a:ext cx="4017010" cy="1397447"/>
          </a:xfrm>
          <a:prstGeom prst="roundRect">
            <a:avLst>
              <a:gd name="adj" fmla="val 1371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4B92108A-ADC5-11F5-957C-64771CF7CFF1}"/>
              </a:ext>
            </a:extLst>
          </p:cNvPr>
          <p:cNvSpPr txBox="1"/>
          <p:nvPr/>
        </p:nvSpPr>
        <p:spPr>
          <a:xfrm>
            <a:off x="4580626" y="4183771"/>
            <a:ext cx="135559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9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3</a:t>
            </a:r>
            <a:endParaRPr kumimoji="0" lang="nl-BE" sz="9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F27E2139-A4BD-8637-B25E-D30CDB17C2F5}"/>
              </a:ext>
            </a:extLst>
          </p:cNvPr>
          <p:cNvSpPr txBox="1"/>
          <p:nvPr/>
        </p:nvSpPr>
        <p:spPr>
          <a:xfrm>
            <a:off x="4919106" y="5458785"/>
            <a:ext cx="32393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Enjoy your extra time!</a:t>
            </a:r>
          </a:p>
        </p:txBody>
      </p:sp>
      <p:sp>
        <p:nvSpPr>
          <p:cNvPr id="29" name="Rechthoek: afgeronde hoeken 28">
            <a:extLst>
              <a:ext uri="{FF2B5EF4-FFF2-40B4-BE49-F238E27FC236}">
                <a16:creationId xmlns:a16="http://schemas.microsoft.com/office/drawing/2014/main" id="{DEABE55F-E400-67E9-43B4-47F766DB571F}"/>
              </a:ext>
            </a:extLst>
          </p:cNvPr>
          <p:cNvSpPr/>
          <p:nvPr/>
        </p:nvSpPr>
        <p:spPr>
          <a:xfrm>
            <a:off x="7979998" y="4971586"/>
            <a:ext cx="878450" cy="87940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4C2BC11-1320-7306-E81A-205F3B9E66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53825" y="2847477"/>
            <a:ext cx="450273" cy="450273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32010A56-D928-535D-4E5B-35EF0658EB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689048" y="2824213"/>
            <a:ext cx="496800" cy="4968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2B30AAC-2986-6FA4-3A5D-B47C962996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168521" y="5180209"/>
            <a:ext cx="495300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693254"/>
      </p:ext>
    </p:extLst>
  </p:cSld>
  <p:clrMapOvr>
    <a:masterClrMapping/>
  </p:clrMapOvr>
  <p:transition spd="slow" advTm="82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6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400"/>
                            </p:stCondLst>
                            <p:childTnLst>
                              <p:par>
                                <p:cTn id="1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9" dur="10" fill="hold"/>
                                        <p:tgtEl>
                                          <p:spTgt spid="1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decel="10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1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6" dur="10" fill="hold"/>
                                        <p:tgtEl>
                                          <p:spTgt spid="3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8" dur="750" fill="hold"/>
                                        <p:tgtEl>
                                          <p:spTgt spid="3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350"/>
                            </p:stCondLst>
                            <p:childTnLst>
                              <p:par>
                                <p:cTn id="4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6" presetClass="emph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6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6" presetClass="emph" presetSubtype="0" decel="10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8" dur="750" fill="hold"/>
                                        <p:tgtEl>
                                          <p:spTgt spid="1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3" dur="10" fill="hold"/>
                                        <p:tgtEl>
                                          <p:spTgt spid="4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5" dur="750" fill="hold"/>
                                        <p:tgtEl>
                                          <p:spTgt spid="4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300"/>
                            </p:stCondLst>
                            <p:childTnLst>
                              <p:par>
                                <p:cTn id="67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7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" presetClass="emph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83" dur="10" fill="hold"/>
                                        <p:tgtEl>
                                          <p:spTgt spid="2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85" dur="750" fill="hold"/>
                                        <p:tgtEl>
                                          <p:spTgt spid="2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0" dur="10" fill="hold"/>
                                        <p:tgtEl>
                                          <p:spTgt spid="4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2" dur="750" fill="hold"/>
                                        <p:tgtEl>
                                          <p:spTgt spid="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/>
      <p:bldP spid="13" grpId="0"/>
      <p:bldP spid="14" grpId="0" animBg="1"/>
      <p:bldP spid="14" grpId="1" animBg="1"/>
      <p:bldP spid="14" grpId="2" animBg="1"/>
      <p:bldP spid="16" grpId="0" animBg="1"/>
      <p:bldP spid="17" grpId="0"/>
      <p:bldP spid="18" grpId="0"/>
      <p:bldP spid="19" grpId="0" animBg="1"/>
      <p:bldP spid="19" grpId="1" animBg="1"/>
      <p:bldP spid="19" grpId="2" animBg="1"/>
      <p:bldP spid="26" grpId="0" animBg="1"/>
      <p:bldP spid="27" grpId="0"/>
      <p:bldP spid="28" grpId="0"/>
      <p:bldP spid="29" grpId="0" animBg="1"/>
      <p:bldP spid="29" grpId="1" animBg="1"/>
      <p:bldP spid="29" grpId="2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!!BG">
            <a:extLst>
              <a:ext uri="{FF2B5EF4-FFF2-40B4-BE49-F238E27FC236}">
                <a16:creationId xmlns:a16="http://schemas.microsoft.com/office/drawing/2014/main" id="{38921B07-1629-CE43-65D3-14CF6E9AE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5370" y="-2899"/>
            <a:ext cx="12197369" cy="686089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pic>
        <p:nvPicPr>
          <p:cNvPr id="3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31D52455-A071-A31B-05FE-A32CA4ABD0F4}"/>
              </a:ext>
            </a:extLst>
          </p:cNvPr>
          <p:cNvPicPr/>
          <p:nvPr/>
        </p:nvPicPr>
        <p:blipFill rotWithShape="1">
          <a:blip r:embed="rId3">
            <a:alphaModFix amt="11000"/>
          </a:blip>
          <a:srcRect l="9834" t="-813"/>
          <a:stretch/>
        </p:blipFill>
        <p:spPr>
          <a:xfrm>
            <a:off x="0" y="-2899"/>
            <a:ext cx="12192000" cy="6860899"/>
          </a:xfrm>
          <a:prstGeom prst="rect">
            <a:avLst/>
          </a:prstGeom>
          <a:noFill/>
          <a:effectLst/>
        </p:spPr>
      </p:pic>
      <p:grpSp>
        <p:nvGrpSpPr>
          <p:cNvPr id="7" name="Groep 6">
            <a:extLst>
              <a:ext uri="{FF2B5EF4-FFF2-40B4-BE49-F238E27FC236}">
                <a16:creationId xmlns:a16="http://schemas.microsoft.com/office/drawing/2014/main" id="{1DF658A2-0D98-C9F1-60DC-358C653F1851}"/>
              </a:ext>
            </a:extLst>
          </p:cNvPr>
          <p:cNvGrpSpPr/>
          <p:nvPr/>
        </p:nvGrpSpPr>
        <p:grpSpPr>
          <a:xfrm>
            <a:off x="7288338" y="1035700"/>
            <a:ext cx="1197784" cy="1199084"/>
            <a:chOff x="4224270" y="2636325"/>
            <a:chExt cx="878450" cy="879404"/>
          </a:xfrm>
        </p:grpSpPr>
        <p:sp>
          <p:nvSpPr>
            <p:cNvPr id="6" name="Rechthoek: afgeronde hoeken 5">
              <a:extLst>
                <a:ext uri="{FF2B5EF4-FFF2-40B4-BE49-F238E27FC236}">
                  <a16:creationId xmlns:a16="http://schemas.microsoft.com/office/drawing/2014/main" id="{93DA4540-9950-D7E6-B222-72A0989E4118}"/>
                </a:ext>
              </a:extLst>
            </p:cNvPr>
            <p:cNvSpPr/>
            <p:nvPr/>
          </p:nvSpPr>
          <p:spPr>
            <a:xfrm>
              <a:off x="4224270" y="2636325"/>
              <a:ext cx="878450" cy="8794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2E9515B-FD9D-7C92-56F4-5DA200AE7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477757" y="2828377"/>
              <a:ext cx="371475" cy="495300"/>
            </a:xfrm>
            <a:prstGeom prst="rect">
              <a:avLst/>
            </a:prstGeom>
          </p:spPr>
        </p:pic>
      </p:grpSp>
      <p:sp>
        <p:nvSpPr>
          <p:cNvPr id="8" name="Tekstvak 7">
            <a:extLst>
              <a:ext uri="{FF2B5EF4-FFF2-40B4-BE49-F238E27FC236}">
                <a16:creationId xmlns:a16="http://schemas.microsoft.com/office/drawing/2014/main" id="{087F4EA2-B07A-9593-410B-2A5B88312904}"/>
              </a:ext>
            </a:extLst>
          </p:cNvPr>
          <p:cNvSpPr txBox="1"/>
          <p:nvPr/>
        </p:nvSpPr>
        <p:spPr>
          <a:xfrm>
            <a:off x="3233455" y="1250522"/>
            <a:ext cx="458815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40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For less than a</a:t>
            </a:r>
            <a:endParaRPr kumimoji="0" lang="nl-BE" sz="40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sp>
        <p:nvSpPr>
          <p:cNvPr id="33" name="Rechthoek: afgeronde hoeken 32">
            <a:extLst>
              <a:ext uri="{FF2B5EF4-FFF2-40B4-BE49-F238E27FC236}">
                <a16:creationId xmlns:a16="http://schemas.microsoft.com/office/drawing/2014/main" id="{1C6294B4-1F3D-56E7-9900-F8040B0537C9}"/>
              </a:ext>
            </a:extLst>
          </p:cNvPr>
          <p:cNvSpPr/>
          <p:nvPr/>
        </p:nvSpPr>
        <p:spPr>
          <a:xfrm>
            <a:off x="5064093" y="290159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Rechthoek: afgeronde hoeken 33">
            <a:extLst>
              <a:ext uri="{FF2B5EF4-FFF2-40B4-BE49-F238E27FC236}">
                <a16:creationId xmlns:a16="http://schemas.microsoft.com/office/drawing/2014/main" id="{5DABD522-47A6-6B1B-F0B3-FB1D91A2BD1B}"/>
              </a:ext>
            </a:extLst>
          </p:cNvPr>
          <p:cNvSpPr/>
          <p:nvPr/>
        </p:nvSpPr>
        <p:spPr>
          <a:xfrm>
            <a:off x="1494981" y="290159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5" name="Rechthoek: afgeronde hoeken 34">
            <a:extLst>
              <a:ext uri="{FF2B5EF4-FFF2-40B4-BE49-F238E27FC236}">
                <a16:creationId xmlns:a16="http://schemas.microsoft.com/office/drawing/2014/main" id="{E2A6D286-1D28-EB03-75D1-641990F3DE55}"/>
              </a:ext>
            </a:extLst>
          </p:cNvPr>
          <p:cNvSpPr/>
          <p:nvPr/>
        </p:nvSpPr>
        <p:spPr>
          <a:xfrm>
            <a:off x="8633204" y="290159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63637131-A391-549C-42F9-13386F543614}"/>
              </a:ext>
            </a:extLst>
          </p:cNvPr>
          <p:cNvSpPr/>
          <p:nvPr/>
        </p:nvSpPr>
        <p:spPr>
          <a:xfrm>
            <a:off x="4953271" y="279418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hthoek: afgeronde hoeken 17">
            <a:extLst>
              <a:ext uri="{FF2B5EF4-FFF2-40B4-BE49-F238E27FC236}">
                <a16:creationId xmlns:a16="http://schemas.microsoft.com/office/drawing/2014/main" id="{14D7D5C2-D037-09A7-6D8F-518D21226F0D}"/>
              </a:ext>
            </a:extLst>
          </p:cNvPr>
          <p:cNvSpPr/>
          <p:nvPr/>
        </p:nvSpPr>
        <p:spPr>
          <a:xfrm>
            <a:off x="1384159" y="279418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echthoek: afgeronde hoeken 19">
            <a:extLst>
              <a:ext uri="{FF2B5EF4-FFF2-40B4-BE49-F238E27FC236}">
                <a16:creationId xmlns:a16="http://schemas.microsoft.com/office/drawing/2014/main" id="{E388A5AC-BB47-6B94-7AE9-AAE57C003930}"/>
              </a:ext>
            </a:extLst>
          </p:cNvPr>
          <p:cNvSpPr/>
          <p:nvPr/>
        </p:nvSpPr>
        <p:spPr>
          <a:xfrm>
            <a:off x="8522382" y="2794181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13293F">
              <a:alpha val="41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Tekstvak 24">
            <a:extLst>
              <a:ext uri="{FF2B5EF4-FFF2-40B4-BE49-F238E27FC236}">
                <a16:creationId xmlns:a16="http://schemas.microsoft.com/office/drawing/2014/main" id="{19520615-A199-69FE-BC06-4C9050812564}"/>
              </a:ext>
            </a:extLst>
          </p:cNvPr>
          <p:cNvSpPr txBox="1"/>
          <p:nvPr/>
        </p:nvSpPr>
        <p:spPr>
          <a:xfrm>
            <a:off x="1380512" y="3345751"/>
            <a:ext cx="2305414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Enterprise</a:t>
            </a:r>
            <a:r>
              <a:rPr lang="en-US" sz="2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r>
              <a:rPr lang="en-US" sz="32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atch</a:t>
            </a:r>
            <a:endParaRPr lang="en-US" sz="2000" b="1"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0EC37221-3039-9868-AC5C-F178B3C69B5A}"/>
              </a:ext>
            </a:extLst>
          </p:cNvPr>
          <p:cNvSpPr txBox="1"/>
          <p:nvPr/>
        </p:nvSpPr>
        <p:spPr>
          <a:xfrm>
            <a:off x="4958640" y="3345751"/>
            <a:ext cx="2305414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Enterprise</a:t>
            </a:r>
            <a:r>
              <a:rPr lang="en-US" sz="2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br>
              <a:rPr lang="en-US" sz="2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</a:br>
            <a:r>
              <a:rPr lang="en-US" sz="32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lus</a:t>
            </a:r>
            <a:endParaRPr lang="en-US" sz="2000" b="1"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DD0ECE15-FCA1-E681-38B9-BAC1823CB820}"/>
              </a:ext>
            </a:extLst>
          </p:cNvPr>
          <p:cNvSpPr txBox="1"/>
          <p:nvPr/>
        </p:nvSpPr>
        <p:spPr>
          <a:xfrm>
            <a:off x="8516743" y="3345751"/>
            <a:ext cx="2305414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Enterprise</a:t>
            </a:r>
            <a:r>
              <a:rPr lang="en-US" sz="2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br>
              <a:rPr lang="en-US" sz="20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</a:br>
            <a:r>
              <a:rPr lang="en-US" sz="32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remium</a:t>
            </a:r>
            <a:endParaRPr lang="en-US" sz="2000" b="1"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60EEC45C-0631-1912-6F33-1B2A0259CF8E}"/>
              </a:ext>
            </a:extLst>
          </p:cNvPr>
          <p:cNvSpPr txBox="1"/>
          <p:nvPr/>
        </p:nvSpPr>
        <p:spPr>
          <a:xfrm>
            <a:off x="996270" y="4587287"/>
            <a:ext cx="3060000" cy="408623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$2 per device per year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F30AA60D-A533-64FD-0AB0-D3E6779BD5BF}"/>
              </a:ext>
            </a:extLst>
          </p:cNvPr>
          <p:cNvSpPr txBox="1"/>
          <p:nvPr/>
        </p:nvSpPr>
        <p:spPr>
          <a:xfrm>
            <a:off x="4560726" y="4587287"/>
            <a:ext cx="3060000" cy="408623"/>
          </a:xfrm>
          <a:prstGeom prst="round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$3.5 per device per year</a:t>
            </a: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B16072F9-4555-6DA7-6672-A4FB96220C23}"/>
              </a:ext>
            </a:extLst>
          </p:cNvPr>
          <p:cNvSpPr txBox="1"/>
          <p:nvPr/>
        </p:nvSpPr>
        <p:spPr>
          <a:xfrm>
            <a:off x="8177441" y="4587287"/>
            <a:ext cx="3060000" cy="408623"/>
          </a:xfrm>
          <a:prstGeom prst="round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$5 per device per year</a:t>
            </a:r>
          </a:p>
        </p:txBody>
      </p:sp>
    </p:spTree>
    <p:extLst>
      <p:ext uri="{BB962C8B-B14F-4D97-AF65-F5344CB8AC3E}">
        <p14:creationId xmlns:p14="http://schemas.microsoft.com/office/powerpoint/2010/main" val="713706531"/>
      </p:ext>
    </p:extLst>
  </p:cSld>
  <p:clrMapOvr>
    <a:masterClrMapping/>
  </p:clrMapOvr>
  <p:transition spd="slow" advTm="5094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repeatCount="200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2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2" presetClass="entr" presetSubtype="4" decel="10000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4" decel="100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6" presetClass="emph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8" dur="1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9" presetID="6" presetClass="emph" presetSubtype="0" decel="10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0" dur="75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16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fill="hold" grpId="1" nodeType="withEffect" p14:presetBounceEnd="99000">
                                      <p:stCondLst>
                                        <p:cond delay="6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36" dur="100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accel="50000" decel="5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8" dur="25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4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51" dur="10" fill="hold"/>
                                            <p:tgtEl>
                                              <p:spTgt spid="26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decel="10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750" fill="hold"/>
                                            <p:tgtEl>
                                              <p:spTgt spid="26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2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6" presetClass="emph" presetSubtype="0" fill="hold" grpId="1" nodeType="withEffect" p14:presetBounceEnd="99000">
                                      <p:stCondLst>
                                        <p:cond delay="10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9" dur="100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0" presetID="6" presetClass="emph" presetSubtype="0" accel="50000" decel="5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61" dur="25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2" presetID="2" presetClass="entr" presetSubtype="4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2" presetClass="entr" presetSubtype="4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9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6" presetClass="emph" presetSubtype="0" fill="hold" grpId="1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74" dur="10" fill="hold"/>
                                            <p:tgtEl>
                                              <p:spTgt spid="2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5" presetID="6" presetClass="emph" presetSubtype="0" decel="100000" fill="hold" grpId="2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76" dur="750" fill="hold"/>
                                            <p:tgtEl>
                                              <p:spTgt spid="27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7" presetID="2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0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6" presetClass="emph" presetSubtype="0" fill="hold" grpId="1" nodeType="withEffect" p14:presetBounceEnd="99000">
                                      <p:stCondLst>
                                        <p:cond delay="14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82" dur="100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3" presetID="6" presetClass="emph" presetSubtype="0" accel="50000" decel="50000" fill="hold" grpId="2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84" dur="25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33" grpId="0" animBg="1"/>
          <p:bldP spid="34" grpId="0" animBg="1"/>
          <p:bldP spid="35" grpId="0" animBg="1"/>
          <p:bldP spid="9" grpId="0" animBg="1"/>
          <p:bldP spid="18" grpId="0" animBg="1"/>
          <p:bldP spid="20" grpId="0" animBg="1"/>
          <p:bldP spid="25" grpId="0"/>
          <p:bldP spid="25" grpId="1"/>
          <p:bldP spid="25" grpId="2"/>
          <p:bldP spid="26" grpId="0"/>
          <p:bldP spid="26" grpId="1"/>
          <p:bldP spid="26" grpId="2"/>
          <p:bldP spid="27" grpId="0"/>
          <p:bldP spid="27" grpId="1"/>
          <p:bldP spid="27" grpId="2"/>
          <p:bldP spid="28" grpId="0" animBg="1"/>
          <p:bldP spid="28" grpId="1" animBg="1"/>
          <p:bldP spid="28" grpId="2" animBg="1"/>
          <p:bldP spid="31" grpId="0" animBg="1"/>
          <p:bldP spid="31" grpId="1" animBg="1"/>
          <p:bldP spid="31" grpId="2" animBg="1"/>
          <p:bldP spid="32" grpId="0" animBg="1"/>
          <p:bldP spid="32" grpId="1" animBg="1"/>
          <p:bldP spid="32" grpId="2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repeatCount="2000" autoRev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2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2" presetClass="entr" presetSubtype="4" decel="10000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4" decel="100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6" presetClass="emph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8" dur="1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9" presetID="6" presetClass="emph" presetSubtype="0" decel="10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0" dur="75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16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6" dur="100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accel="50000" decel="50000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38" dur="25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4" decel="10000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51" dur="10" fill="hold"/>
                                            <p:tgtEl>
                                              <p:spTgt spid="26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decel="10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750" fill="hold"/>
                                            <p:tgtEl>
                                              <p:spTgt spid="26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2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6" presetClass="emph" presetSubtype="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59" dur="100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0" presetID="6" presetClass="emph" presetSubtype="0" accel="50000" decel="5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61" dur="25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2" presetID="2" presetClass="entr" presetSubtype="4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6" presetID="2" presetClass="entr" presetSubtype="4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9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6" presetClass="emph" presetSubtype="0" fill="hold" grpId="1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74" dur="10" fill="hold"/>
                                            <p:tgtEl>
                                              <p:spTgt spid="2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5" presetID="6" presetClass="emph" presetSubtype="0" decel="100000" fill="hold" grpId="2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76" dur="750" fill="hold"/>
                                            <p:tgtEl>
                                              <p:spTgt spid="27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7" presetID="2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0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6" presetClass="emph" presetSubtype="0" fill="hold" grpId="1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82" dur="100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3" presetID="6" presetClass="emph" presetSubtype="0" accel="50000" decel="50000" fill="hold" grpId="2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84" dur="25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33" grpId="0" animBg="1"/>
          <p:bldP spid="34" grpId="0" animBg="1"/>
          <p:bldP spid="35" grpId="0" animBg="1"/>
          <p:bldP spid="9" grpId="0" animBg="1"/>
          <p:bldP spid="18" grpId="0" animBg="1"/>
          <p:bldP spid="20" grpId="0" animBg="1"/>
          <p:bldP spid="25" grpId="0"/>
          <p:bldP spid="25" grpId="1"/>
          <p:bldP spid="25" grpId="2"/>
          <p:bldP spid="26" grpId="0"/>
          <p:bldP spid="26" grpId="1"/>
          <p:bldP spid="26" grpId="2"/>
          <p:bldP spid="27" grpId="0"/>
          <p:bldP spid="27" grpId="1"/>
          <p:bldP spid="27" grpId="2"/>
          <p:bldP spid="28" grpId="0" animBg="1"/>
          <p:bldP spid="28" grpId="1" animBg="1"/>
          <p:bldP spid="28" grpId="2" animBg="1"/>
          <p:bldP spid="31" grpId="0" animBg="1"/>
          <p:bldP spid="31" grpId="1" animBg="1"/>
          <p:bldP spid="31" grpId="2" animBg="1"/>
          <p:bldP spid="32" grpId="0" animBg="1"/>
          <p:bldP spid="32" grpId="1" animBg="1"/>
          <p:bldP spid="32" grpId="2" animBg="1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phic 32">
            <a:extLst>
              <a:ext uri="{FF2B5EF4-FFF2-40B4-BE49-F238E27FC236}">
                <a16:creationId xmlns:a16="http://schemas.microsoft.com/office/drawing/2014/main" id="{9E3B4874-AFAD-98C6-A5BC-FFC28505563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600" t="1063" r="11600" b="1063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69" name="Vrije vorm: vorm 68">
            <a:extLst>
              <a:ext uri="{FF2B5EF4-FFF2-40B4-BE49-F238E27FC236}">
                <a16:creationId xmlns:a16="http://schemas.microsoft.com/office/drawing/2014/main" id="{9A8A77AA-312B-2E24-387F-5038D77DC523}"/>
              </a:ext>
            </a:extLst>
          </p:cNvPr>
          <p:cNvSpPr/>
          <p:nvPr/>
        </p:nvSpPr>
        <p:spPr>
          <a:xfrm rot="980577">
            <a:off x="1026963" y="-9035144"/>
            <a:ext cx="6227139" cy="15893144"/>
          </a:xfrm>
          <a:custGeom>
            <a:avLst/>
            <a:gdLst>
              <a:gd name="connsiteX0" fmla="*/ 43127 w 262799"/>
              <a:gd name="connsiteY0" fmla="*/ 0 h 670727"/>
              <a:gd name="connsiteX1" fmla="*/ 0 w 262799"/>
              <a:gd name="connsiteY1" fmla="*/ 211703 h 670727"/>
              <a:gd name="connsiteX2" fmla="*/ 101975 w 262799"/>
              <a:gd name="connsiteY2" fmla="*/ 662512 h 670727"/>
              <a:gd name="connsiteX3" fmla="*/ 121628 w 262799"/>
              <a:gd name="connsiteY3" fmla="*/ 666443 h 670727"/>
              <a:gd name="connsiteX4" fmla="*/ 219673 w 262799"/>
              <a:gd name="connsiteY4" fmla="*/ 486075 h 670727"/>
              <a:gd name="connsiteX5" fmla="*/ 262799 w 262799"/>
              <a:gd name="connsiteY5" fmla="*/ 246968 h 670727"/>
              <a:gd name="connsiteX6" fmla="*/ 243256 w 262799"/>
              <a:gd name="connsiteY6" fmla="*/ 86253 h 670727"/>
              <a:gd name="connsiteX7" fmla="*/ 207990 w 262799"/>
              <a:gd name="connsiteY7" fmla="*/ 50988 h 670727"/>
              <a:gd name="connsiteX8" fmla="*/ 43345 w 262799"/>
              <a:gd name="connsiteY8" fmla="*/ 0 h 670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799" h="670727">
                <a:moveTo>
                  <a:pt x="43127" y="0"/>
                </a:moveTo>
                <a:cubicBezTo>
                  <a:pt x="35266" y="47057"/>
                  <a:pt x="19653" y="125449"/>
                  <a:pt x="0" y="211703"/>
                </a:cubicBezTo>
                <a:lnTo>
                  <a:pt x="101975" y="662512"/>
                </a:lnTo>
                <a:cubicBezTo>
                  <a:pt x="101975" y="670373"/>
                  <a:pt x="113767" y="674304"/>
                  <a:pt x="121628" y="666443"/>
                </a:cubicBezTo>
                <a:cubicBezTo>
                  <a:pt x="164755" y="611525"/>
                  <a:pt x="196090" y="548855"/>
                  <a:pt x="219673" y="486075"/>
                </a:cubicBezTo>
                <a:cubicBezTo>
                  <a:pt x="247077" y="407683"/>
                  <a:pt x="262799" y="329291"/>
                  <a:pt x="262799" y="246968"/>
                </a:cubicBezTo>
                <a:cubicBezTo>
                  <a:pt x="262799" y="192050"/>
                  <a:pt x="254938" y="141171"/>
                  <a:pt x="243256" y="86253"/>
                </a:cubicBezTo>
                <a:cubicBezTo>
                  <a:pt x="239325" y="70531"/>
                  <a:pt x="227534" y="54918"/>
                  <a:pt x="207990" y="50988"/>
                </a:cubicBezTo>
                <a:lnTo>
                  <a:pt x="43345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70" name="Vrije vorm: vorm 69">
            <a:extLst>
              <a:ext uri="{FF2B5EF4-FFF2-40B4-BE49-F238E27FC236}">
                <a16:creationId xmlns:a16="http://schemas.microsoft.com/office/drawing/2014/main" id="{EEB559C2-BE49-6B94-1C88-9437447A0EEA}"/>
              </a:ext>
            </a:extLst>
          </p:cNvPr>
          <p:cNvSpPr/>
          <p:nvPr/>
        </p:nvSpPr>
        <p:spPr>
          <a:xfrm rot="20724916">
            <a:off x="29937" y="-904810"/>
            <a:ext cx="8499005" cy="6376552"/>
          </a:xfrm>
          <a:custGeom>
            <a:avLst/>
            <a:gdLst>
              <a:gd name="connsiteX0" fmla="*/ 1932795 w 8208229"/>
              <a:gd name="connsiteY0" fmla="*/ 0 h 6158392"/>
              <a:gd name="connsiteX1" fmla="*/ 8208229 w 8208229"/>
              <a:gd name="connsiteY1" fmla="*/ 0 h 6158392"/>
              <a:gd name="connsiteX2" fmla="*/ 8122567 w 8208229"/>
              <a:gd name="connsiteY2" fmla="*/ 122396 h 6158392"/>
              <a:gd name="connsiteX3" fmla="*/ 4910898 w 8208229"/>
              <a:gd name="connsiteY3" fmla="*/ 3487461 h 6158392"/>
              <a:gd name="connsiteX4" fmla="*/ 405093 w 8208229"/>
              <a:gd name="connsiteY4" fmla="*/ 6146301 h 6158392"/>
              <a:gd name="connsiteX5" fmla="*/ 26945 w 8208229"/>
              <a:gd name="connsiteY5" fmla="*/ 5802953 h 6158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08229" h="6158392">
                <a:moveTo>
                  <a:pt x="1932795" y="0"/>
                </a:moveTo>
                <a:lnTo>
                  <a:pt x="8208229" y="0"/>
                </a:lnTo>
                <a:lnTo>
                  <a:pt x="8122567" y="122396"/>
                </a:lnTo>
                <a:cubicBezTo>
                  <a:pt x="7206021" y="1369204"/>
                  <a:pt x="6130285" y="2471367"/>
                  <a:pt x="4910898" y="3487461"/>
                </a:cubicBezTo>
                <a:cubicBezTo>
                  <a:pt x="3573064" y="4551007"/>
                  <a:pt x="2067203" y="5510613"/>
                  <a:pt x="405093" y="6146301"/>
                </a:cubicBezTo>
                <a:cubicBezTo>
                  <a:pt x="130280" y="6215188"/>
                  <a:pt x="-76017" y="5974801"/>
                  <a:pt x="26945" y="5802953"/>
                </a:cubicBezTo>
                <a:close/>
              </a:path>
            </a:pathLst>
          </a:custGeom>
          <a:blipFill dpi="0" rotWithShape="0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476" t="22714" r="-11443" b="-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0B03CCCC-71EE-7F0A-C0A3-B776BD0597C5}"/>
              </a:ext>
            </a:extLst>
          </p:cNvPr>
          <p:cNvSpPr txBox="1"/>
          <p:nvPr/>
        </p:nvSpPr>
        <p:spPr>
          <a:xfrm>
            <a:off x="6285187" y="3927190"/>
            <a:ext cx="53286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Importance of</a:t>
            </a:r>
            <a:endParaRPr lang="nl-BE" sz="4800" b="1"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9B95B0D2-23FB-383D-B47D-8591C8313C50}"/>
              </a:ext>
            </a:extLst>
          </p:cNvPr>
          <p:cNvSpPr txBox="1"/>
          <p:nvPr/>
        </p:nvSpPr>
        <p:spPr>
          <a:xfrm>
            <a:off x="6285186" y="4571032"/>
            <a:ext cx="525322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atching</a:t>
            </a:r>
            <a:endParaRPr lang="nl-BE" sz="7200" b="1">
              <a:solidFill>
                <a:schemeClr val="bg2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FD4D209D-2EB0-3382-C47C-16D22ACF3029}"/>
              </a:ext>
            </a:extLst>
          </p:cNvPr>
          <p:cNvCxnSpPr>
            <a:cxnSpLocks/>
          </p:cNvCxnSpPr>
          <p:nvPr/>
        </p:nvCxnSpPr>
        <p:spPr>
          <a:xfrm>
            <a:off x="6408137" y="3644672"/>
            <a:ext cx="667427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63500" dist="381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5469582"/>
      </p:ext>
    </p:extLst>
  </p:cSld>
  <p:clrMapOvr>
    <a:masterClrMapping/>
  </p:clrMapOvr>
  <p:transition spd="slow" advTm="3509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4.375E-6 0.03889 L -4.375E-6 -1.85185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6.25E-7 0.03888 L 6.25E-7 4.81481E-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2" grpId="0"/>
      <p:bldP spid="2" grpId="1"/>
      <p:bldP spid="3" grpId="0"/>
      <p:bldP spid="3" grpId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;p24">
            <a:extLst>
              <a:ext uri="{FF2B5EF4-FFF2-40B4-BE49-F238E27FC236}">
                <a16:creationId xmlns:a16="http://schemas.microsoft.com/office/drawing/2014/main" id="{7CD3EA44-5CCA-71B9-1D32-E61A45DC4B2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5000">
                <a:srgbClr val="151520"/>
              </a:gs>
              <a:gs pos="12000">
                <a:srgbClr val="2A2A3C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400"/>
              <a:buFont typeface="Calibri"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5" name="Picture 4" descr="A blue and white logo&#10;&#10;Description automatically generated with medium confidence">
            <a:extLst>
              <a:ext uri="{FF2B5EF4-FFF2-40B4-BE49-F238E27FC236}">
                <a16:creationId xmlns:a16="http://schemas.microsoft.com/office/drawing/2014/main" id="{EE90062A-2377-535E-5385-A4B55C491534}"/>
              </a:ext>
            </a:extLst>
          </p:cNvPr>
          <p:cNvPicPr/>
          <p:nvPr/>
        </p:nvPicPr>
        <p:blipFill rotWithShape="1">
          <a:blip r:embed="rId3">
            <a:alphaModFix amt="11000"/>
          </a:blip>
          <a:srcRect l="9834"/>
          <a:stretch/>
        </p:blipFill>
        <p:spPr>
          <a:xfrm>
            <a:off x="0" y="26209"/>
            <a:ext cx="12192000" cy="6805582"/>
          </a:xfrm>
          <a:prstGeom prst="rect">
            <a:avLst/>
          </a:prstGeom>
          <a:noFill/>
          <a:effectLst/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2FA0EC30-7D87-B2B1-8F46-ADCAAD72D459}"/>
              </a:ext>
            </a:extLst>
          </p:cNvPr>
          <p:cNvSpPr txBox="1"/>
          <p:nvPr/>
        </p:nvSpPr>
        <p:spPr>
          <a:xfrm>
            <a:off x="1680840" y="2695440"/>
            <a:ext cx="88303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Aptos"/>
                <a:ea typeface="+mn-ea"/>
                <a:cs typeface="+mn-cs"/>
              </a:rPr>
              <a:t>your application</a:t>
            </a: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Aptos"/>
                <a:ea typeface="+mn-ea"/>
                <a:cs typeface="+mn-cs"/>
              </a:rPr>
              <a:t> installs and updates</a:t>
            </a:r>
            <a:endParaRPr kumimoji="0" lang="nl-B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38AFBCB2-61D9-571A-B74B-C43A4CC9994B}"/>
              </a:ext>
            </a:extLst>
          </p:cNvPr>
          <p:cNvSpPr/>
          <p:nvPr/>
        </p:nvSpPr>
        <p:spPr>
          <a:xfrm>
            <a:off x="4078476" y="1951649"/>
            <a:ext cx="4035048" cy="625572"/>
          </a:xfrm>
          <a:prstGeom prst="roundRect">
            <a:avLst>
              <a:gd name="adj" fmla="val 7273"/>
            </a:avLst>
          </a:prstGeom>
          <a:solidFill>
            <a:schemeClr val="bg2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1CD21386-D19F-6AEE-D001-ECA702701AB4}"/>
              </a:ext>
            </a:extLst>
          </p:cNvPr>
          <p:cNvSpPr txBox="1"/>
          <p:nvPr/>
        </p:nvSpPr>
        <p:spPr>
          <a:xfrm>
            <a:off x="4078476" y="2034482"/>
            <a:ext cx="4035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Automating</a:t>
            </a:r>
            <a:r>
              <a:rPr kumimoji="0" lang="en-US" sz="2400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 and securing</a:t>
            </a:r>
            <a:endParaRPr kumimoji="0" lang="nl-BE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grpSp>
        <p:nvGrpSpPr>
          <p:cNvPr id="36" name="Groep 35">
            <a:extLst>
              <a:ext uri="{FF2B5EF4-FFF2-40B4-BE49-F238E27FC236}">
                <a16:creationId xmlns:a16="http://schemas.microsoft.com/office/drawing/2014/main" id="{9FE643A1-D724-EDD1-BE00-9BBDF2CFD1FC}"/>
              </a:ext>
            </a:extLst>
          </p:cNvPr>
          <p:cNvGrpSpPr/>
          <p:nvPr/>
        </p:nvGrpSpPr>
        <p:grpSpPr>
          <a:xfrm>
            <a:off x="3930650" y="786273"/>
            <a:ext cx="4330700" cy="689378"/>
            <a:chOff x="1712371" y="2731223"/>
            <a:chExt cx="8766928" cy="1395554"/>
          </a:xfrm>
        </p:grpSpPr>
        <p:grpSp>
          <p:nvGrpSpPr>
            <p:cNvPr id="2" name="!!my">
              <a:extLst>
                <a:ext uri="{FF2B5EF4-FFF2-40B4-BE49-F238E27FC236}">
                  <a16:creationId xmlns:a16="http://schemas.microsoft.com/office/drawing/2014/main" id="{E401BB4B-4637-FD55-16F2-47461258A000}"/>
                </a:ext>
              </a:extLst>
            </p:cNvPr>
            <p:cNvGrpSpPr/>
            <p:nvPr/>
          </p:nvGrpSpPr>
          <p:grpSpPr>
            <a:xfrm>
              <a:off x="7130928" y="3123183"/>
              <a:ext cx="1615446" cy="611633"/>
              <a:chOff x="7130928" y="2960374"/>
              <a:chExt cx="1615446" cy="611633"/>
            </a:xfrm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4" name="Vrije vorm: vorm 3">
                <a:extLst>
                  <a:ext uri="{FF2B5EF4-FFF2-40B4-BE49-F238E27FC236}">
                    <a16:creationId xmlns:a16="http://schemas.microsoft.com/office/drawing/2014/main" id="{B0219006-ED33-C0E0-3FB2-4553D9A2051F}"/>
                  </a:ext>
                </a:extLst>
              </p:cNvPr>
              <p:cNvSpPr/>
              <p:nvPr/>
            </p:nvSpPr>
            <p:spPr>
              <a:xfrm>
                <a:off x="7130928" y="2960374"/>
                <a:ext cx="807723" cy="611524"/>
              </a:xfrm>
              <a:custGeom>
                <a:avLst/>
                <a:gdLst>
                  <a:gd name="connsiteX0" fmla="*/ 0 w 807723"/>
                  <a:gd name="connsiteY0" fmla="*/ 0 h 611524"/>
                  <a:gd name="connsiteX1" fmla="*/ 219564 w 807723"/>
                  <a:gd name="connsiteY1" fmla="*/ 0 h 611524"/>
                  <a:gd name="connsiteX2" fmla="*/ 407792 w 807723"/>
                  <a:gd name="connsiteY2" fmla="*/ 411614 h 611524"/>
                  <a:gd name="connsiteX3" fmla="*/ 603881 w 807723"/>
                  <a:gd name="connsiteY3" fmla="*/ 0 h 611524"/>
                  <a:gd name="connsiteX4" fmla="*/ 807723 w 807723"/>
                  <a:gd name="connsiteY4" fmla="*/ 0 h 611524"/>
                  <a:gd name="connsiteX5" fmla="*/ 807723 w 807723"/>
                  <a:gd name="connsiteY5" fmla="*/ 611525 h 611524"/>
                  <a:gd name="connsiteX6" fmla="*/ 647008 w 807723"/>
                  <a:gd name="connsiteY6" fmla="*/ 611525 h 611524"/>
                  <a:gd name="connsiteX7" fmla="*/ 647008 w 807723"/>
                  <a:gd name="connsiteY7" fmla="*/ 207772 h 611524"/>
                  <a:gd name="connsiteX8" fmla="*/ 466641 w 807723"/>
                  <a:gd name="connsiteY8" fmla="*/ 611525 h 611524"/>
                  <a:gd name="connsiteX9" fmla="*/ 337261 w 807723"/>
                  <a:gd name="connsiteY9" fmla="*/ 611525 h 611524"/>
                  <a:gd name="connsiteX10" fmla="*/ 156893 w 807723"/>
                  <a:gd name="connsiteY10" fmla="*/ 207772 h 611524"/>
                  <a:gd name="connsiteX11" fmla="*/ 156893 w 807723"/>
                  <a:gd name="connsiteY11" fmla="*/ 611525 h 611524"/>
                  <a:gd name="connsiteX12" fmla="*/ 109 w 807723"/>
                  <a:gd name="connsiteY12" fmla="*/ 611525 h 611524"/>
                  <a:gd name="connsiteX13" fmla="*/ 109 w 807723"/>
                  <a:gd name="connsiteY13" fmla="*/ 0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7723" h="611524">
                    <a:moveTo>
                      <a:pt x="0" y="0"/>
                    </a:moveTo>
                    <a:lnTo>
                      <a:pt x="219564" y="0"/>
                    </a:lnTo>
                    <a:lnTo>
                      <a:pt x="407792" y="411614"/>
                    </a:lnTo>
                    <a:lnTo>
                      <a:pt x="603881" y="0"/>
                    </a:lnTo>
                    <a:lnTo>
                      <a:pt x="807723" y="0"/>
                    </a:lnTo>
                    <a:lnTo>
                      <a:pt x="807723" y="611525"/>
                    </a:lnTo>
                    <a:lnTo>
                      <a:pt x="647008" y="611525"/>
                    </a:lnTo>
                    <a:lnTo>
                      <a:pt x="647008" y="207772"/>
                    </a:lnTo>
                    <a:lnTo>
                      <a:pt x="466641" y="611525"/>
                    </a:lnTo>
                    <a:lnTo>
                      <a:pt x="337261" y="611525"/>
                    </a:lnTo>
                    <a:lnTo>
                      <a:pt x="156893" y="207772"/>
                    </a:lnTo>
                    <a:lnTo>
                      <a:pt x="156893" y="611525"/>
                    </a:lnTo>
                    <a:lnTo>
                      <a:pt x="109" y="611525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6" name="Vrije vorm: vorm 5">
                <a:extLst>
                  <a:ext uri="{FF2B5EF4-FFF2-40B4-BE49-F238E27FC236}">
                    <a16:creationId xmlns:a16="http://schemas.microsoft.com/office/drawing/2014/main" id="{72A7812A-83AF-C94C-CEAF-C12E3C03B794}"/>
                  </a:ext>
                </a:extLst>
              </p:cNvPr>
              <p:cNvSpPr/>
              <p:nvPr/>
            </p:nvSpPr>
            <p:spPr>
              <a:xfrm>
                <a:off x="8005361" y="2960374"/>
                <a:ext cx="741013" cy="611633"/>
              </a:xfrm>
              <a:custGeom>
                <a:avLst/>
                <a:gdLst>
                  <a:gd name="connsiteX0" fmla="*/ 294025 w 741013"/>
                  <a:gd name="connsiteY0" fmla="*/ 388140 h 611633"/>
                  <a:gd name="connsiteX1" fmla="*/ 0 w 741013"/>
                  <a:gd name="connsiteY1" fmla="*/ 0 h 611633"/>
                  <a:gd name="connsiteX2" fmla="*/ 203841 w 741013"/>
                  <a:gd name="connsiteY2" fmla="*/ 0 h 611633"/>
                  <a:gd name="connsiteX3" fmla="*/ 380279 w 741013"/>
                  <a:gd name="connsiteY3" fmla="*/ 246968 h 611633"/>
                  <a:gd name="connsiteX4" fmla="*/ 556715 w 741013"/>
                  <a:gd name="connsiteY4" fmla="*/ 0 h 611633"/>
                  <a:gd name="connsiteX5" fmla="*/ 741013 w 741013"/>
                  <a:gd name="connsiteY5" fmla="*/ 0 h 611633"/>
                  <a:gd name="connsiteX6" fmla="*/ 458671 w 741013"/>
                  <a:gd name="connsiteY6" fmla="*/ 388140 h 611633"/>
                  <a:gd name="connsiteX7" fmla="*/ 458671 w 741013"/>
                  <a:gd name="connsiteY7" fmla="*/ 611634 h 611633"/>
                  <a:gd name="connsiteX8" fmla="*/ 294025 w 741013"/>
                  <a:gd name="connsiteY8" fmla="*/ 611634 h 611633"/>
                  <a:gd name="connsiteX9" fmla="*/ 294025 w 741013"/>
                  <a:gd name="connsiteY9" fmla="*/ 388140 h 61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1013" h="611633">
                    <a:moveTo>
                      <a:pt x="294025" y="388140"/>
                    </a:moveTo>
                    <a:lnTo>
                      <a:pt x="0" y="0"/>
                    </a:lnTo>
                    <a:lnTo>
                      <a:pt x="203841" y="0"/>
                    </a:lnTo>
                    <a:lnTo>
                      <a:pt x="380279" y="246968"/>
                    </a:lnTo>
                    <a:lnTo>
                      <a:pt x="556715" y="0"/>
                    </a:lnTo>
                    <a:lnTo>
                      <a:pt x="741013" y="0"/>
                    </a:lnTo>
                    <a:lnTo>
                      <a:pt x="458671" y="388140"/>
                    </a:lnTo>
                    <a:lnTo>
                      <a:pt x="458671" y="611634"/>
                    </a:lnTo>
                    <a:lnTo>
                      <a:pt x="294025" y="611634"/>
                    </a:lnTo>
                    <a:lnTo>
                      <a:pt x="294025" y="388140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7" name="!!pc">
              <a:extLst>
                <a:ext uri="{FF2B5EF4-FFF2-40B4-BE49-F238E27FC236}">
                  <a16:creationId xmlns:a16="http://schemas.microsoft.com/office/drawing/2014/main" id="{0E6FAFC5-A768-6F2E-628B-CCA6A93A63F0}"/>
                </a:ext>
              </a:extLst>
            </p:cNvPr>
            <p:cNvGrpSpPr/>
            <p:nvPr/>
          </p:nvGrpSpPr>
          <p:grpSpPr>
            <a:xfrm>
              <a:off x="9036469" y="3123183"/>
              <a:ext cx="1442830" cy="611634"/>
              <a:chOff x="9036469" y="2960374"/>
              <a:chExt cx="1442830" cy="611634"/>
            </a:xfrm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19" name="Vrije vorm: vorm 18">
                <a:extLst>
                  <a:ext uri="{FF2B5EF4-FFF2-40B4-BE49-F238E27FC236}">
                    <a16:creationId xmlns:a16="http://schemas.microsoft.com/office/drawing/2014/main" id="{EC763945-5F38-DD29-EFEA-DCA3C9715CB4}"/>
                  </a:ext>
                </a:extLst>
              </p:cNvPr>
              <p:cNvSpPr/>
              <p:nvPr/>
            </p:nvSpPr>
            <p:spPr>
              <a:xfrm>
                <a:off x="9036469" y="2960374"/>
                <a:ext cx="643077" cy="611524"/>
              </a:xfrm>
              <a:custGeom>
                <a:avLst/>
                <a:gdLst>
                  <a:gd name="connsiteX0" fmla="*/ 164646 w 643077"/>
                  <a:gd name="connsiteY0" fmla="*/ 415544 h 611524"/>
                  <a:gd name="connsiteX1" fmla="*/ 164646 w 643077"/>
                  <a:gd name="connsiteY1" fmla="*/ 611525 h 611524"/>
                  <a:gd name="connsiteX2" fmla="*/ 0 w 643077"/>
                  <a:gd name="connsiteY2" fmla="*/ 611525 h 611524"/>
                  <a:gd name="connsiteX3" fmla="*/ 0 w 643077"/>
                  <a:gd name="connsiteY3" fmla="*/ 0 h 611524"/>
                  <a:gd name="connsiteX4" fmla="*/ 399931 w 643077"/>
                  <a:gd name="connsiteY4" fmla="*/ 0 h 611524"/>
                  <a:gd name="connsiteX5" fmla="*/ 643077 w 643077"/>
                  <a:gd name="connsiteY5" fmla="*/ 203842 h 611524"/>
                  <a:gd name="connsiteX6" fmla="*/ 643077 w 643077"/>
                  <a:gd name="connsiteY6" fmla="*/ 211703 h 611524"/>
                  <a:gd name="connsiteX7" fmla="*/ 399931 w 643077"/>
                  <a:gd name="connsiteY7" fmla="*/ 415544 h 611524"/>
                  <a:gd name="connsiteX8" fmla="*/ 164646 w 643077"/>
                  <a:gd name="connsiteY8" fmla="*/ 415544 h 611524"/>
                  <a:gd name="connsiteX9" fmla="*/ 164646 w 643077"/>
                  <a:gd name="connsiteY9" fmla="*/ 282343 h 611524"/>
                  <a:gd name="connsiteX10" fmla="*/ 388139 w 643077"/>
                  <a:gd name="connsiteY10" fmla="*/ 282343 h 611524"/>
                  <a:gd name="connsiteX11" fmla="*/ 474393 w 643077"/>
                  <a:gd name="connsiteY11" fmla="*/ 211812 h 611524"/>
                  <a:gd name="connsiteX12" fmla="*/ 474393 w 643077"/>
                  <a:gd name="connsiteY12" fmla="*/ 207881 h 611524"/>
                  <a:gd name="connsiteX13" fmla="*/ 388139 w 643077"/>
                  <a:gd name="connsiteY13" fmla="*/ 137350 h 611524"/>
                  <a:gd name="connsiteX14" fmla="*/ 164646 w 643077"/>
                  <a:gd name="connsiteY14" fmla="*/ 137350 h 611524"/>
                  <a:gd name="connsiteX15" fmla="*/ 164646 w 643077"/>
                  <a:gd name="connsiteY15" fmla="*/ 282343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43077" h="611524">
                    <a:moveTo>
                      <a:pt x="164646" y="415544"/>
                    </a:moveTo>
                    <a:lnTo>
                      <a:pt x="164646" y="611525"/>
                    </a:lnTo>
                    <a:lnTo>
                      <a:pt x="0" y="611525"/>
                    </a:lnTo>
                    <a:lnTo>
                      <a:pt x="0" y="0"/>
                    </a:lnTo>
                    <a:lnTo>
                      <a:pt x="399931" y="0"/>
                    </a:lnTo>
                    <a:cubicBezTo>
                      <a:pt x="588160" y="0"/>
                      <a:pt x="643077" y="86253"/>
                      <a:pt x="643077" y="203842"/>
                    </a:cubicBezTo>
                    <a:lnTo>
                      <a:pt x="643077" y="211703"/>
                    </a:lnTo>
                    <a:cubicBezTo>
                      <a:pt x="643077" y="329291"/>
                      <a:pt x="584229" y="415544"/>
                      <a:pt x="399931" y="415544"/>
                    </a:cubicBezTo>
                    <a:lnTo>
                      <a:pt x="164646" y="415544"/>
                    </a:lnTo>
                    <a:close/>
                    <a:moveTo>
                      <a:pt x="164646" y="282343"/>
                    </a:moveTo>
                    <a:lnTo>
                      <a:pt x="388139" y="282343"/>
                    </a:lnTo>
                    <a:cubicBezTo>
                      <a:pt x="446988" y="282343"/>
                      <a:pt x="474393" y="258869"/>
                      <a:pt x="474393" y="211812"/>
                    </a:cubicBezTo>
                    <a:lnTo>
                      <a:pt x="474393" y="207881"/>
                    </a:lnTo>
                    <a:cubicBezTo>
                      <a:pt x="474393" y="164755"/>
                      <a:pt x="446988" y="137350"/>
                      <a:pt x="388139" y="137350"/>
                    </a:cubicBezTo>
                    <a:lnTo>
                      <a:pt x="164646" y="137350"/>
                    </a:lnTo>
                    <a:lnTo>
                      <a:pt x="164646" y="282343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0" name="Vrije vorm: vorm 19">
                <a:extLst>
                  <a:ext uri="{FF2B5EF4-FFF2-40B4-BE49-F238E27FC236}">
                    <a16:creationId xmlns:a16="http://schemas.microsoft.com/office/drawing/2014/main" id="{4E073AEC-506D-623A-D804-40608434B9F4}"/>
                  </a:ext>
                </a:extLst>
              </p:cNvPr>
              <p:cNvSpPr/>
              <p:nvPr/>
            </p:nvSpPr>
            <p:spPr>
              <a:xfrm>
                <a:off x="9765800" y="2960484"/>
                <a:ext cx="713499" cy="611524"/>
              </a:xfrm>
              <a:custGeom>
                <a:avLst/>
                <a:gdLst>
                  <a:gd name="connsiteX0" fmla="*/ 345013 w 713499"/>
                  <a:gd name="connsiteY0" fmla="*/ 611525 h 611524"/>
                  <a:gd name="connsiteX1" fmla="*/ 0 w 713499"/>
                  <a:gd name="connsiteY1" fmla="*/ 317499 h 611524"/>
                  <a:gd name="connsiteX2" fmla="*/ 0 w 713499"/>
                  <a:gd name="connsiteY2" fmla="*/ 294025 h 611524"/>
                  <a:gd name="connsiteX3" fmla="*/ 345013 w 713499"/>
                  <a:gd name="connsiteY3" fmla="*/ 0 h 611524"/>
                  <a:gd name="connsiteX4" fmla="*/ 380279 w 713499"/>
                  <a:gd name="connsiteY4" fmla="*/ 0 h 611524"/>
                  <a:gd name="connsiteX5" fmla="*/ 713499 w 713499"/>
                  <a:gd name="connsiteY5" fmla="*/ 231246 h 611524"/>
                  <a:gd name="connsiteX6" fmla="*/ 713499 w 713499"/>
                  <a:gd name="connsiteY6" fmla="*/ 235177 h 611524"/>
                  <a:gd name="connsiteX7" fmla="*/ 540993 w 713499"/>
                  <a:gd name="connsiteY7" fmla="*/ 235177 h 611524"/>
                  <a:gd name="connsiteX8" fmla="*/ 360626 w 713499"/>
                  <a:gd name="connsiteY8" fmla="*/ 133201 h 611524"/>
                  <a:gd name="connsiteX9" fmla="*/ 172397 w 713499"/>
                  <a:gd name="connsiteY9" fmla="*/ 293916 h 611524"/>
                  <a:gd name="connsiteX10" fmla="*/ 172397 w 713499"/>
                  <a:gd name="connsiteY10" fmla="*/ 301777 h 611524"/>
                  <a:gd name="connsiteX11" fmla="*/ 360626 w 713499"/>
                  <a:gd name="connsiteY11" fmla="*/ 466423 h 611524"/>
                  <a:gd name="connsiteX12" fmla="*/ 540993 w 713499"/>
                  <a:gd name="connsiteY12" fmla="*/ 364447 h 611524"/>
                  <a:gd name="connsiteX13" fmla="*/ 713499 w 713499"/>
                  <a:gd name="connsiteY13" fmla="*/ 364447 h 611524"/>
                  <a:gd name="connsiteX14" fmla="*/ 713499 w 713499"/>
                  <a:gd name="connsiteY14" fmla="*/ 368378 h 611524"/>
                  <a:gd name="connsiteX15" fmla="*/ 344904 w 713499"/>
                  <a:gd name="connsiteY15" fmla="*/ 611416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13499" h="611524">
                    <a:moveTo>
                      <a:pt x="345013" y="611525"/>
                    </a:moveTo>
                    <a:cubicBezTo>
                      <a:pt x="78392" y="611525"/>
                      <a:pt x="0" y="439018"/>
                      <a:pt x="0" y="317499"/>
                    </a:cubicBezTo>
                    <a:lnTo>
                      <a:pt x="0" y="294025"/>
                    </a:lnTo>
                    <a:cubicBezTo>
                      <a:pt x="0" y="168576"/>
                      <a:pt x="74462" y="0"/>
                      <a:pt x="345013" y="0"/>
                    </a:cubicBezTo>
                    <a:lnTo>
                      <a:pt x="380279" y="0"/>
                    </a:lnTo>
                    <a:cubicBezTo>
                      <a:pt x="627247" y="0"/>
                      <a:pt x="713499" y="121519"/>
                      <a:pt x="713499" y="231246"/>
                    </a:cubicBezTo>
                    <a:lnTo>
                      <a:pt x="713499" y="235177"/>
                    </a:lnTo>
                    <a:lnTo>
                      <a:pt x="540993" y="235177"/>
                    </a:lnTo>
                    <a:cubicBezTo>
                      <a:pt x="537063" y="219454"/>
                      <a:pt x="517520" y="133201"/>
                      <a:pt x="360626" y="133201"/>
                    </a:cubicBezTo>
                    <a:cubicBezTo>
                      <a:pt x="215524" y="133201"/>
                      <a:pt x="172397" y="215524"/>
                      <a:pt x="172397" y="293916"/>
                    </a:cubicBezTo>
                    <a:lnTo>
                      <a:pt x="172397" y="301777"/>
                    </a:lnTo>
                    <a:cubicBezTo>
                      <a:pt x="172397" y="376239"/>
                      <a:pt x="219454" y="466423"/>
                      <a:pt x="360626" y="466423"/>
                    </a:cubicBezTo>
                    <a:cubicBezTo>
                      <a:pt x="517410" y="466423"/>
                      <a:pt x="537063" y="380169"/>
                      <a:pt x="540993" y="364447"/>
                    </a:cubicBezTo>
                    <a:lnTo>
                      <a:pt x="713499" y="364447"/>
                    </a:lnTo>
                    <a:lnTo>
                      <a:pt x="713499" y="368378"/>
                    </a:lnTo>
                    <a:cubicBezTo>
                      <a:pt x="713499" y="493827"/>
                      <a:pt x="619385" y="611416"/>
                      <a:pt x="344904" y="611416"/>
                    </a:cubicBez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21" name="!!patch">
              <a:extLst>
                <a:ext uri="{FF2B5EF4-FFF2-40B4-BE49-F238E27FC236}">
                  <a16:creationId xmlns:a16="http://schemas.microsoft.com/office/drawing/2014/main" id="{0BB667DA-856B-4A02-C0BC-F9939CAFAB49}"/>
                </a:ext>
              </a:extLst>
            </p:cNvPr>
            <p:cNvGrpSpPr/>
            <p:nvPr/>
          </p:nvGrpSpPr>
          <p:grpSpPr>
            <a:xfrm>
              <a:off x="3410139" y="3123183"/>
              <a:ext cx="3407001" cy="611634"/>
              <a:chOff x="3410139" y="2960374"/>
              <a:chExt cx="3407001" cy="611634"/>
            </a:xfrm>
            <a:solidFill>
              <a:schemeClr val="bg1"/>
            </a:solidFill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22" name="Vrije vorm: vorm 21">
                <a:extLst>
                  <a:ext uri="{FF2B5EF4-FFF2-40B4-BE49-F238E27FC236}">
                    <a16:creationId xmlns:a16="http://schemas.microsoft.com/office/drawing/2014/main" id="{8BB3659D-3A41-3D38-6DEA-B9FC502F1A3A}"/>
                  </a:ext>
                </a:extLst>
              </p:cNvPr>
              <p:cNvSpPr/>
              <p:nvPr/>
            </p:nvSpPr>
            <p:spPr>
              <a:xfrm>
                <a:off x="3410139" y="2960374"/>
                <a:ext cx="642968" cy="611524"/>
              </a:xfrm>
              <a:custGeom>
                <a:avLst/>
                <a:gdLst>
                  <a:gd name="connsiteX0" fmla="*/ 164645 w 642968"/>
                  <a:gd name="connsiteY0" fmla="*/ 415544 h 611524"/>
                  <a:gd name="connsiteX1" fmla="*/ 164645 w 642968"/>
                  <a:gd name="connsiteY1" fmla="*/ 611525 h 611524"/>
                  <a:gd name="connsiteX2" fmla="*/ 0 w 642968"/>
                  <a:gd name="connsiteY2" fmla="*/ 611525 h 611524"/>
                  <a:gd name="connsiteX3" fmla="*/ 0 w 642968"/>
                  <a:gd name="connsiteY3" fmla="*/ 0 h 611524"/>
                  <a:gd name="connsiteX4" fmla="*/ 399931 w 642968"/>
                  <a:gd name="connsiteY4" fmla="*/ 0 h 611524"/>
                  <a:gd name="connsiteX5" fmla="*/ 642969 w 642968"/>
                  <a:gd name="connsiteY5" fmla="*/ 203842 h 611524"/>
                  <a:gd name="connsiteX6" fmla="*/ 642969 w 642968"/>
                  <a:gd name="connsiteY6" fmla="*/ 207772 h 611524"/>
                  <a:gd name="connsiteX7" fmla="*/ 399931 w 642968"/>
                  <a:gd name="connsiteY7" fmla="*/ 411614 h 611524"/>
                  <a:gd name="connsiteX8" fmla="*/ 164645 w 642968"/>
                  <a:gd name="connsiteY8" fmla="*/ 415544 h 611524"/>
                  <a:gd name="connsiteX9" fmla="*/ 164645 w 642968"/>
                  <a:gd name="connsiteY9" fmla="*/ 278412 h 611524"/>
                  <a:gd name="connsiteX10" fmla="*/ 392070 w 642968"/>
                  <a:gd name="connsiteY10" fmla="*/ 278412 h 611524"/>
                  <a:gd name="connsiteX11" fmla="*/ 478323 w 642968"/>
                  <a:gd name="connsiteY11" fmla="*/ 211812 h 611524"/>
                  <a:gd name="connsiteX12" fmla="*/ 478323 w 642968"/>
                  <a:gd name="connsiteY12" fmla="*/ 207881 h 611524"/>
                  <a:gd name="connsiteX13" fmla="*/ 392070 w 642968"/>
                  <a:gd name="connsiteY13" fmla="*/ 141281 h 611524"/>
                  <a:gd name="connsiteX14" fmla="*/ 164645 w 642968"/>
                  <a:gd name="connsiteY14" fmla="*/ 141281 h 611524"/>
                  <a:gd name="connsiteX15" fmla="*/ 164645 w 642968"/>
                  <a:gd name="connsiteY15" fmla="*/ 278522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42968" h="611524">
                    <a:moveTo>
                      <a:pt x="164645" y="415544"/>
                    </a:moveTo>
                    <a:lnTo>
                      <a:pt x="164645" y="611525"/>
                    </a:lnTo>
                    <a:lnTo>
                      <a:pt x="0" y="611525"/>
                    </a:lnTo>
                    <a:lnTo>
                      <a:pt x="0" y="0"/>
                    </a:lnTo>
                    <a:lnTo>
                      <a:pt x="399931" y="0"/>
                    </a:lnTo>
                    <a:cubicBezTo>
                      <a:pt x="588160" y="0"/>
                      <a:pt x="642969" y="82323"/>
                      <a:pt x="642969" y="203842"/>
                    </a:cubicBezTo>
                    <a:lnTo>
                      <a:pt x="642969" y="207772"/>
                    </a:lnTo>
                    <a:cubicBezTo>
                      <a:pt x="642969" y="325360"/>
                      <a:pt x="584120" y="411614"/>
                      <a:pt x="399931" y="411614"/>
                    </a:cubicBezTo>
                    <a:lnTo>
                      <a:pt x="164645" y="415544"/>
                    </a:lnTo>
                    <a:close/>
                    <a:moveTo>
                      <a:pt x="164645" y="278412"/>
                    </a:moveTo>
                    <a:lnTo>
                      <a:pt x="392070" y="278412"/>
                    </a:lnTo>
                    <a:cubicBezTo>
                      <a:pt x="450919" y="278412"/>
                      <a:pt x="478323" y="254938"/>
                      <a:pt x="478323" y="211812"/>
                    </a:cubicBezTo>
                    <a:lnTo>
                      <a:pt x="478323" y="207881"/>
                    </a:lnTo>
                    <a:cubicBezTo>
                      <a:pt x="478323" y="164755"/>
                      <a:pt x="450919" y="141281"/>
                      <a:pt x="392070" y="141281"/>
                    </a:cubicBezTo>
                    <a:lnTo>
                      <a:pt x="164645" y="141281"/>
                    </a:lnTo>
                    <a:lnTo>
                      <a:pt x="164645" y="278522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3" name="Vrije vorm: vorm 22">
                <a:extLst>
                  <a:ext uri="{FF2B5EF4-FFF2-40B4-BE49-F238E27FC236}">
                    <a16:creationId xmlns:a16="http://schemas.microsoft.com/office/drawing/2014/main" id="{2616509A-6990-41DB-F53A-B617CDFE5A58}"/>
                  </a:ext>
                </a:extLst>
              </p:cNvPr>
              <p:cNvSpPr/>
              <p:nvPr/>
            </p:nvSpPr>
            <p:spPr>
              <a:xfrm>
                <a:off x="4029525" y="2960374"/>
                <a:ext cx="752804" cy="611524"/>
              </a:xfrm>
              <a:custGeom>
                <a:avLst/>
                <a:gdLst>
                  <a:gd name="connsiteX0" fmla="*/ 529311 w 752804"/>
                  <a:gd name="connsiteY0" fmla="*/ 497867 h 611524"/>
                  <a:gd name="connsiteX1" fmla="*/ 211703 w 752804"/>
                  <a:gd name="connsiteY1" fmla="*/ 497867 h 611524"/>
                  <a:gd name="connsiteX2" fmla="*/ 164645 w 752804"/>
                  <a:gd name="connsiteY2" fmla="*/ 611525 h 611524"/>
                  <a:gd name="connsiteX3" fmla="*/ 0 w 752804"/>
                  <a:gd name="connsiteY3" fmla="*/ 611525 h 611524"/>
                  <a:gd name="connsiteX4" fmla="*/ 262690 w 752804"/>
                  <a:gd name="connsiteY4" fmla="*/ 0 h 611524"/>
                  <a:gd name="connsiteX5" fmla="*/ 478323 w 752804"/>
                  <a:gd name="connsiteY5" fmla="*/ 0 h 611524"/>
                  <a:gd name="connsiteX6" fmla="*/ 752805 w 752804"/>
                  <a:gd name="connsiteY6" fmla="*/ 611525 h 611524"/>
                  <a:gd name="connsiteX7" fmla="*/ 576368 w 752804"/>
                  <a:gd name="connsiteY7" fmla="*/ 611525 h 611524"/>
                  <a:gd name="connsiteX8" fmla="*/ 529311 w 752804"/>
                  <a:gd name="connsiteY8" fmla="*/ 497867 h 611524"/>
                  <a:gd name="connsiteX9" fmla="*/ 364666 w 752804"/>
                  <a:gd name="connsiteY9" fmla="*/ 121519 h 611524"/>
                  <a:gd name="connsiteX10" fmla="*/ 262690 w 752804"/>
                  <a:gd name="connsiteY10" fmla="*/ 368487 h 611524"/>
                  <a:gd name="connsiteX11" fmla="*/ 474393 w 752804"/>
                  <a:gd name="connsiteY11" fmla="*/ 368487 h 611524"/>
                  <a:gd name="connsiteX12" fmla="*/ 364556 w 752804"/>
                  <a:gd name="connsiteY12" fmla="*/ 121519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52804" h="611524">
                    <a:moveTo>
                      <a:pt x="529311" y="497867"/>
                    </a:moveTo>
                    <a:lnTo>
                      <a:pt x="211703" y="497867"/>
                    </a:lnTo>
                    <a:lnTo>
                      <a:pt x="164645" y="611525"/>
                    </a:lnTo>
                    <a:lnTo>
                      <a:pt x="0" y="611525"/>
                    </a:lnTo>
                    <a:lnTo>
                      <a:pt x="262690" y="0"/>
                    </a:lnTo>
                    <a:lnTo>
                      <a:pt x="478323" y="0"/>
                    </a:lnTo>
                    <a:lnTo>
                      <a:pt x="752805" y="611525"/>
                    </a:lnTo>
                    <a:lnTo>
                      <a:pt x="576368" y="611525"/>
                    </a:lnTo>
                    <a:lnTo>
                      <a:pt x="529311" y="497867"/>
                    </a:lnTo>
                    <a:close/>
                    <a:moveTo>
                      <a:pt x="364666" y="121519"/>
                    </a:moveTo>
                    <a:lnTo>
                      <a:pt x="262690" y="368487"/>
                    </a:lnTo>
                    <a:lnTo>
                      <a:pt x="474393" y="368487"/>
                    </a:lnTo>
                    <a:lnTo>
                      <a:pt x="364556" y="121519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4" name="Vrije vorm: vorm 23">
                <a:extLst>
                  <a:ext uri="{FF2B5EF4-FFF2-40B4-BE49-F238E27FC236}">
                    <a16:creationId xmlns:a16="http://schemas.microsoft.com/office/drawing/2014/main" id="{51E2CFAF-5B61-7305-B939-EDEDB5715443}"/>
                  </a:ext>
                </a:extLst>
              </p:cNvPr>
              <p:cNvSpPr/>
              <p:nvPr/>
            </p:nvSpPr>
            <p:spPr>
              <a:xfrm>
                <a:off x="4684285" y="2960374"/>
                <a:ext cx="615563" cy="611633"/>
              </a:xfrm>
              <a:custGeom>
                <a:avLst/>
                <a:gdLst>
                  <a:gd name="connsiteX0" fmla="*/ 231355 w 615563"/>
                  <a:gd name="connsiteY0" fmla="*/ 141171 h 611633"/>
                  <a:gd name="connsiteX1" fmla="*/ 0 w 615563"/>
                  <a:gd name="connsiteY1" fmla="*/ 141171 h 611633"/>
                  <a:gd name="connsiteX2" fmla="*/ 0 w 615563"/>
                  <a:gd name="connsiteY2" fmla="*/ 0 h 611633"/>
                  <a:gd name="connsiteX3" fmla="*/ 615564 w 615563"/>
                  <a:gd name="connsiteY3" fmla="*/ 0 h 611633"/>
                  <a:gd name="connsiteX4" fmla="*/ 615564 w 615563"/>
                  <a:gd name="connsiteY4" fmla="*/ 141171 h 611633"/>
                  <a:gd name="connsiteX5" fmla="*/ 392070 w 615563"/>
                  <a:gd name="connsiteY5" fmla="*/ 141171 h 611633"/>
                  <a:gd name="connsiteX6" fmla="*/ 392070 w 615563"/>
                  <a:gd name="connsiteY6" fmla="*/ 611634 h 611633"/>
                  <a:gd name="connsiteX7" fmla="*/ 227424 w 615563"/>
                  <a:gd name="connsiteY7" fmla="*/ 611634 h 611633"/>
                  <a:gd name="connsiteX8" fmla="*/ 231355 w 615563"/>
                  <a:gd name="connsiteY8" fmla="*/ 141171 h 61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5563" h="611633">
                    <a:moveTo>
                      <a:pt x="231355" y="141171"/>
                    </a:moveTo>
                    <a:lnTo>
                      <a:pt x="0" y="141171"/>
                    </a:lnTo>
                    <a:lnTo>
                      <a:pt x="0" y="0"/>
                    </a:lnTo>
                    <a:lnTo>
                      <a:pt x="615564" y="0"/>
                    </a:lnTo>
                    <a:lnTo>
                      <a:pt x="615564" y="141171"/>
                    </a:lnTo>
                    <a:lnTo>
                      <a:pt x="392070" y="141171"/>
                    </a:lnTo>
                    <a:lnTo>
                      <a:pt x="392070" y="611634"/>
                    </a:lnTo>
                    <a:lnTo>
                      <a:pt x="227424" y="611634"/>
                    </a:lnTo>
                    <a:cubicBezTo>
                      <a:pt x="231355" y="611634"/>
                      <a:pt x="231355" y="141171"/>
                      <a:pt x="231355" y="141171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5" name="Vrije vorm: vorm 24">
                <a:extLst>
                  <a:ext uri="{FF2B5EF4-FFF2-40B4-BE49-F238E27FC236}">
                    <a16:creationId xmlns:a16="http://schemas.microsoft.com/office/drawing/2014/main" id="{037C2C95-CBC0-65CC-6F45-B1D842836D28}"/>
                  </a:ext>
                </a:extLst>
              </p:cNvPr>
              <p:cNvSpPr/>
              <p:nvPr/>
            </p:nvSpPr>
            <p:spPr>
              <a:xfrm>
                <a:off x="6154629" y="2960374"/>
                <a:ext cx="662511" cy="611524"/>
              </a:xfrm>
              <a:custGeom>
                <a:avLst/>
                <a:gdLst>
                  <a:gd name="connsiteX0" fmla="*/ 0 w 662511"/>
                  <a:gd name="connsiteY0" fmla="*/ 0 h 611524"/>
                  <a:gd name="connsiteX1" fmla="*/ 164646 w 662511"/>
                  <a:gd name="connsiteY1" fmla="*/ 0 h 611524"/>
                  <a:gd name="connsiteX2" fmla="*/ 164646 w 662511"/>
                  <a:gd name="connsiteY2" fmla="*/ 227316 h 611524"/>
                  <a:gd name="connsiteX3" fmla="*/ 497867 w 662511"/>
                  <a:gd name="connsiteY3" fmla="*/ 227316 h 611524"/>
                  <a:gd name="connsiteX4" fmla="*/ 497867 w 662511"/>
                  <a:gd name="connsiteY4" fmla="*/ 0 h 611524"/>
                  <a:gd name="connsiteX5" fmla="*/ 662512 w 662511"/>
                  <a:gd name="connsiteY5" fmla="*/ 0 h 611524"/>
                  <a:gd name="connsiteX6" fmla="*/ 662512 w 662511"/>
                  <a:gd name="connsiteY6" fmla="*/ 611525 h 611524"/>
                  <a:gd name="connsiteX7" fmla="*/ 497867 w 662511"/>
                  <a:gd name="connsiteY7" fmla="*/ 611525 h 611524"/>
                  <a:gd name="connsiteX8" fmla="*/ 497867 w 662511"/>
                  <a:gd name="connsiteY8" fmla="*/ 364556 h 611524"/>
                  <a:gd name="connsiteX9" fmla="*/ 168576 w 662511"/>
                  <a:gd name="connsiteY9" fmla="*/ 364556 h 611524"/>
                  <a:gd name="connsiteX10" fmla="*/ 168576 w 662511"/>
                  <a:gd name="connsiteY10" fmla="*/ 611525 h 611524"/>
                  <a:gd name="connsiteX11" fmla="*/ 3931 w 662511"/>
                  <a:gd name="connsiteY11" fmla="*/ 611525 h 611524"/>
                  <a:gd name="connsiteX12" fmla="*/ 0 w 662511"/>
                  <a:gd name="connsiteY12" fmla="*/ 0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2511" h="611524">
                    <a:moveTo>
                      <a:pt x="0" y="0"/>
                    </a:moveTo>
                    <a:lnTo>
                      <a:pt x="164646" y="0"/>
                    </a:lnTo>
                    <a:lnTo>
                      <a:pt x="164646" y="227316"/>
                    </a:lnTo>
                    <a:lnTo>
                      <a:pt x="497867" y="227316"/>
                    </a:lnTo>
                    <a:lnTo>
                      <a:pt x="497867" y="0"/>
                    </a:lnTo>
                    <a:lnTo>
                      <a:pt x="662512" y="0"/>
                    </a:lnTo>
                    <a:lnTo>
                      <a:pt x="662512" y="611525"/>
                    </a:lnTo>
                    <a:lnTo>
                      <a:pt x="497867" y="611525"/>
                    </a:lnTo>
                    <a:lnTo>
                      <a:pt x="497867" y="364556"/>
                    </a:lnTo>
                    <a:lnTo>
                      <a:pt x="168576" y="364556"/>
                    </a:lnTo>
                    <a:lnTo>
                      <a:pt x="168576" y="611525"/>
                    </a:lnTo>
                    <a:lnTo>
                      <a:pt x="3931" y="6115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6" name="Vrije vorm: vorm 25">
                <a:extLst>
                  <a:ext uri="{FF2B5EF4-FFF2-40B4-BE49-F238E27FC236}">
                    <a16:creationId xmlns:a16="http://schemas.microsoft.com/office/drawing/2014/main" id="{40437E64-8943-86D2-092C-7CF9D3765466}"/>
                  </a:ext>
                </a:extLst>
              </p:cNvPr>
              <p:cNvSpPr/>
              <p:nvPr/>
            </p:nvSpPr>
            <p:spPr>
              <a:xfrm>
                <a:off x="5343085" y="2960484"/>
                <a:ext cx="713499" cy="611524"/>
              </a:xfrm>
              <a:custGeom>
                <a:avLst/>
                <a:gdLst>
                  <a:gd name="connsiteX0" fmla="*/ 345013 w 713499"/>
                  <a:gd name="connsiteY0" fmla="*/ 611525 h 611524"/>
                  <a:gd name="connsiteX1" fmla="*/ 0 w 713499"/>
                  <a:gd name="connsiteY1" fmla="*/ 317499 h 611524"/>
                  <a:gd name="connsiteX2" fmla="*/ 0 w 713499"/>
                  <a:gd name="connsiteY2" fmla="*/ 294025 h 611524"/>
                  <a:gd name="connsiteX3" fmla="*/ 345013 w 713499"/>
                  <a:gd name="connsiteY3" fmla="*/ 0 h 611524"/>
                  <a:gd name="connsiteX4" fmla="*/ 380278 w 713499"/>
                  <a:gd name="connsiteY4" fmla="*/ 0 h 611524"/>
                  <a:gd name="connsiteX5" fmla="*/ 713500 w 713499"/>
                  <a:gd name="connsiteY5" fmla="*/ 231246 h 611524"/>
                  <a:gd name="connsiteX6" fmla="*/ 713500 w 713499"/>
                  <a:gd name="connsiteY6" fmla="*/ 235177 h 611524"/>
                  <a:gd name="connsiteX7" fmla="*/ 540993 w 713499"/>
                  <a:gd name="connsiteY7" fmla="*/ 235177 h 611524"/>
                  <a:gd name="connsiteX8" fmla="*/ 360626 w 713499"/>
                  <a:gd name="connsiteY8" fmla="*/ 133201 h 611524"/>
                  <a:gd name="connsiteX9" fmla="*/ 172397 w 713499"/>
                  <a:gd name="connsiteY9" fmla="*/ 293916 h 611524"/>
                  <a:gd name="connsiteX10" fmla="*/ 172397 w 713499"/>
                  <a:gd name="connsiteY10" fmla="*/ 301777 h 611524"/>
                  <a:gd name="connsiteX11" fmla="*/ 360626 w 713499"/>
                  <a:gd name="connsiteY11" fmla="*/ 466423 h 611524"/>
                  <a:gd name="connsiteX12" fmla="*/ 540993 w 713499"/>
                  <a:gd name="connsiteY12" fmla="*/ 364447 h 611524"/>
                  <a:gd name="connsiteX13" fmla="*/ 713500 w 713499"/>
                  <a:gd name="connsiteY13" fmla="*/ 364447 h 611524"/>
                  <a:gd name="connsiteX14" fmla="*/ 713500 w 713499"/>
                  <a:gd name="connsiteY14" fmla="*/ 368378 h 611524"/>
                  <a:gd name="connsiteX15" fmla="*/ 344904 w 713499"/>
                  <a:gd name="connsiteY15" fmla="*/ 611416 h 6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13499" h="611524">
                    <a:moveTo>
                      <a:pt x="345013" y="611525"/>
                    </a:moveTo>
                    <a:cubicBezTo>
                      <a:pt x="78392" y="611525"/>
                      <a:pt x="0" y="439018"/>
                      <a:pt x="0" y="317499"/>
                    </a:cubicBezTo>
                    <a:lnTo>
                      <a:pt x="0" y="294025"/>
                    </a:lnTo>
                    <a:cubicBezTo>
                      <a:pt x="0" y="168576"/>
                      <a:pt x="74461" y="0"/>
                      <a:pt x="345013" y="0"/>
                    </a:cubicBezTo>
                    <a:lnTo>
                      <a:pt x="380278" y="0"/>
                    </a:lnTo>
                    <a:cubicBezTo>
                      <a:pt x="627246" y="0"/>
                      <a:pt x="713500" y="121519"/>
                      <a:pt x="713500" y="231246"/>
                    </a:cubicBezTo>
                    <a:lnTo>
                      <a:pt x="713500" y="235177"/>
                    </a:lnTo>
                    <a:lnTo>
                      <a:pt x="540993" y="235177"/>
                    </a:lnTo>
                    <a:cubicBezTo>
                      <a:pt x="537063" y="219454"/>
                      <a:pt x="517519" y="133201"/>
                      <a:pt x="360626" y="133201"/>
                    </a:cubicBezTo>
                    <a:cubicBezTo>
                      <a:pt x="215524" y="133201"/>
                      <a:pt x="172397" y="215524"/>
                      <a:pt x="172397" y="293916"/>
                    </a:cubicBezTo>
                    <a:lnTo>
                      <a:pt x="172397" y="301777"/>
                    </a:lnTo>
                    <a:cubicBezTo>
                      <a:pt x="172397" y="376239"/>
                      <a:pt x="219454" y="466423"/>
                      <a:pt x="360626" y="466423"/>
                    </a:cubicBezTo>
                    <a:cubicBezTo>
                      <a:pt x="517410" y="466423"/>
                      <a:pt x="537063" y="380169"/>
                      <a:pt x="540993" y="364447"/>
                    </a:cubicBezTo>
                    <a:lnTo>
                      <a:pt x="713500" y="364447"/>
                    </a:lnTo>
                    <a:lnTo>
                      <a:pt x="713500" y="368378"/>
                    </a:lnTo>
                    <a:cubicBezTo>
                      <a:pt x="713500" y="493827"/>
                      <a:pt x="619385" y="611416"/>
                      <a:pt x="344904" y="611416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  <p:grpSp>
          <p:nvGrpSpPr>
            <p:cNvPr id="27" name="!!logo">
              <a:extLst>
                <a:ext uri="{FF2B5EF4-FFF2-40B4-BE49-F238E27FC236}">
                  <a16:creationId xmlns:a16="http://schemas.microsoft.com/office/drawing/2014/main" id="{00E6BEA8-B7A4-860F-9ABF-246610B9EE30}"/>
                </a:ext>
              </a:extLst>
            </p:cNvPr>
            <p:cNvGrpSpPr/>
            <p:nvPr/>
          </p:nvGrpSpPr>
          <p:grpSpPr>
            <a:xfrm>
              <a:off x="1712371" y="2731223"/>
              <a:ext cx="1403743" cy="1395554"/>
              <a:chOff x="1712371" y="2568414"/>
              <a:chExt cx="1403743" cy="1395554"/>
            </a:xfrm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28" name="Vrije vorm: vorm 27">
                <a:extLst>
                  <a:ext uri="{FF2B5EF4-FFF2-40B4-BE49-F238E27FC236}">
                    <a16:creationId xmlns:a16="http://schemas.microsoft.com/office/drawing/2014/main" id="{4BF587A8-AC3F-1174-54AA-4F3F500B9075}"/>
                  </a:ext>
                </a:extLst>
              </p:cNvPr>
              <p:cNvSpPr/>
              <p:nvPr/>
            </p:nvSpPr>
            <p:spPr>
              <a:xfrm>
                <a:off x="2139815" y="2983124"/>
                <a:ext cx="561185" cy="579691"/>
              </a:xfrm>
              <a:custGeom>
                <a:avLst/>
                <a:gdLst>
                  <a:gd name="connsiteX0" fmla="*/ 560646 w 561185"/>
                  <a:gd name="connsiteY0" fmla="*/ 443783 h 579691"/>
                  <a:gd name="connsiteX1" fmla="*/ 560646 w 561185"/>
                  <a:gd name="connsiteY1" fmla="*/ 98770 h 579691"/>
                  <a:gd name="connsiteX2" fmla="*/ 552785 w 561185"/>
                  <a:gd name="connsiteY2" fmla="*/ 86978 h 579691"/>
                  <a:gd name="connsiteX3" fmla="*/ 540993 w 561185"/>
                  <a:gd name="connsiteY3" fmla="*/ 83048 h 579691"/>
                  <a:gd name="connsiteX4" fmla="*/ 533132 w 561185"/>
                  <a:gd name="connsiteY4" fmla="*/ 86978 h 579691"/>
                  <a:gd name="connsiteX5" fmla="*/ 521341 w 561185"/>
                  <a:gd name="connsiteY5" fmla="*/ 98770 h 579691"/>
                  <a:gd name="connsiteX6" fmla="*/ 525271 w 561185"/>
                  <a:gd name="connsiteY6" fmla="*/ 110561 h 579691"/>
                  <a:gd name="connsiteX7" fmla="*/ 533132 w 561185"/>
                  <a:gd name="connsiteY7" fmla="*/ 118422 h 579691"/>
                  <a:gd name="connsiteX8" fmla="*/ 533132 w 561185"/>
                  <a:gd name="connsiteY8" fmla="*/ 396726 h 579691"/>
                  <a:gd name="connsiteX9" fmla="*/ 525271 w 561185"/>
                  <a:gd name="connsiteY9" fmla="*/ 404587 h 579691"/>
                  <a:gd name="connsiteX10" fmla="*/ 74352 w 561185"/>
                  <a:gd name="connsiteY10" fmla="*/ 431991 h 579691"/>
                  <a:gd name="connsiteX11" fmla="*/ 66491 w 561185"/>
                  <a:gd name="connsiteY11" fmla="*/ 424130 h 579691"/>
                  <a:gd name="connsiteX12" fmla="*/ 66491 w 561185"/>
                  <a:gd name="connsiteY12" fmla="*/ 51713 h 579691"/>
                  <a:gd name="connsiteX13" fmla="*/ 74352 w 561185"/>
                  <a:gd name="connsiteY13" fmla="*/ 43852 h 579691"/>
                  <a:gd name="connsiteX14" fmla="*/ 348834 w 561185"/>
                  <a:gd name="connsiteY14" fmla="*/ 86978 h 579691"/>
                  <a:gd name="connsiteX15" fmla="*/ 356695 w 561185"/>
                  <a:gd name="connsiteY15" fmla="*/ 83048 h 579691"/>
                  <a:gd name="connsiteX16" fmla="*/ 368487 w 561185"/>
                  <a:gd name="connsiteY16" fmla="*/ 67326 h 579691"/>
                  <a:gd name="connsiteX17" fmla="*/ 364556 w 561185"/>
                  <a:gd name="connsiteY17" fmla="*/ 55534 h 579691"/>
                  <a:gd name="connsiteX18" fmla="*/ 31335 w 561185"/>
                  <a:gd name="connsiteY18" fmla="*/ 616 h 579691"/>
                  <a:gd name="connsiteX19" fmla="*/ 0 w 561185"/>
                  <a:gd name="connsiteY19" fmla="*/ 24090 h 579691"/>
                  <a:gd name="connsiteX20" fmla="*/ 0 w 561185"/>
                  <a:gd name="connsiteY20" fmla="*/ 498373 h 579691"/>
                  <a:gd name="connsiteX21" fmla="*/ 19653 w 561185"/>
                  <a:gd name="connsiteY21" fmla="*/ 514096 h 579691"/>
                  <a:gd name="connsiteX22" fmla="*/ 254938 w 561185"/>
                  <a:gd name="connsiteY22" fmla="*/ 494443 h 579691"/>
                  <a:gd name="connsiteX23" fmla="*/ 262799 w 561185"/>
                  <a:gd name="connsiteY23" fmla="*/ 502304 h 579691"/>
                  <a:gd name="connsiteX24" fmla="*/ 258869 w 561185"/>
                  <a:gd name="connsiteY24" fmla="*/ 529708 h 579691"/>
                  <a:gd name="connsiteX25" fmla="*/ 251008 w 561185"/>
                  <a:gd name="connsiteY25" fmla="*/ 537570 h 579691"/>
                  <a:gd name="connsiteX26" fmla="*/ 188229 w 561185"/>
                  <a:gd name="connsiteY26" fmla="*/ 564974 h 579691"/>
                  <a:gd name="connsiteX27" fmla="*/ 333330 w 561185"/>
                  <a:gd name="connsiteY27" fmla="*/ 572835 h 579691"/>
                  <a:gd name="connsiteX28" fmla="*/ 439236 w 561185"/>
                  <a:gd name="connsiteY28" fmla="*/ 541500 h 579691"/>
                  <a:gd name="connsiteX29" fmla="*/ 372636 w 561185"/>
                  <a:gd name="connsiteY29" fmla="*/ 525778 h 579691"/>
                  <a:gd name="connsiteX30" fmla="*/ 364775 w 561185"/>
                  <a:gd name="connsiteY30" fmla="*/ 517917 h 579691"/>
                  <a:gd name="connsiteX31" fmla="*/ 364775 w 561185"/>
                  <a:gd name="connsiteY31" fmla="*/ 494443 h 579691"/>
                  <a:gd name="connsiteX32" fmla="*/ 372636 w 561185"/>
                  <a:gd name="connsiteY32" fmla="*/ 486582 h 579691"/>
                  <a:gd name="connsiteX33" fmla="*/ 545142 w 561185"/>
                  <a:gd name="connsiteY33" fmla="*/ 470860 h 579691"/>
                  <a:gd name="connsiteX34" fmla="*/ 560864 w 561185"/>
                  <a:gd name="connsiteY34" fmla="*/ 443455 h 579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61185" h="579691">
                    <a:moveTo>
                      <a:pt x="560646" y="443783"/>
                    </a:moveTo>
                    <a:lnTo>
                      <a:pt x="560646" y="98770"/>
                    </a:lnTo>
                    <a:cubicBezTo>
                      <a:pt x="560646" y="90909"/>
                      <a:pt x="556715" y="86978"/>
                      <a:pt x="552785" y="86978"/>
                    </a:cubicBezTo>
                    <a:lnTo>
                      <a:pt x="540993" y="83048"/>
                    </a:lnTo>
                    <a:cubicBezTo>
                      <a:pt x="538373" y="83048"/>
                      <a:pt x="535753" y="84358"/>
                      <a:pt x="533132" y="86978"/>
                    </a:cubicBezTo>
                    <a:cubicBezTo>
                      <a:pt x="529202" y="90909"/>
                      <a:pt x="525271" y="94839"/>
                      <a:pt x="521341" y="98770"/>
                    </a:cubicBezTo>
                    <a:cubicBezTo>
                      <a:pt x="517410" y="102700"/>
                      <a:pt x="521341" y="110561"/>
                      <a:pt x="525271" y="110561"/>
                    </a:cubicBezTo>
                    <a:cubicBezTo>
                      <a:pt x="529202" y="110561"/>
                      <a:pt x="533132" y="114492"/>
                      <a:pt x="533132" y="118422"/>
                    </a:cubicBezTo>
                    <a:lnTo>
                      <a:pt x="533132" y="396726"/>
                    </a:lnTo>
                    <a:cubicBezTo>
                      <a:pt x="533132" y="400656"/>
                      <a:pt x="529202" y="404587"/>
                      <a:pt x="525271" y="404587"/>
                    </a:cubicBezTo>
                    <a:lnTo>
                      <a:pt x="74352" y="431991"/>
                    </a:lnTo>
                    <a:cubicBezTo>
                      <a:pt x="70422" y="431991"/>
                      <a:pt x="66491" y="428061"/>
                      <a:pt x="66491" y="424130"/>
                    </a:cubicBezTo>
                    <a:lnTo>
                      <a:pt x="66491" y="51713"/>
                    </a:lnTo>
                    <a:cubicBezTo>
                      <a:pt x="66491" y="47782"/>
                      <a:pt x="70422" y="43852"/>
                      <a:pt x="74352" y="43852"/>
                    </a:cubicBezTo>
                    <a:lnTo>
                      <a:pt x="348834" y="86978"/>
                    </a:lnTo>
                    <a:cubicBezTo>
                      <a:pt x="352765" y="86978"/>
                      <a:pt x="356695" y="86978"/>
                      <a:pt x="356695" y="83048"/>
                    </a:cubicBezTo>
                    <a:cubicBezTo>
                      <a:pt x="360626" y="79117"/>
                      <a:pt x="364556" y="71256"/>
                      <a:pt x="368487" y="67326"/>
                    </a:cubicBezTo>
                    <a:cubicBezTo>
                      <a:pt x="372417" y="63395"/>
                      <a:pt x="368487" y="55534"/>
                      <a:pt x="364556" y="55534"/>
                    </a:cubicBezTo>
                    <a:lnTo>
                      <a:pt x="31335" y="616"/>
                    </a:lnTo>
                    <a:cubicBezTo>
                      <a:pt x="15613" y="-3315"/>
                      <a:pt x="0" y="12407"/>
                      <a:pt x="0" y="24090"/>
                    </a:cubicBezTo>
                    <a:lnTo>
                      <a:pt x="0" y="498373"/>
                    </a:lnTo>
                    <a:cubicBezTo>
                      <a:pt x="0" y="506234"/>
                      <a:pt x="7861" y="514096"/>
                      <a:pt x="19653" y="514096"/>
                    </a:cubicBezTo>
                    <a:cubicBezTo>
                      <a:pt x="19653" y="514096"/>
                      <a:pt x="129489" y="502304"/>
                      <a:pt x="254938" y="494443"/>
                    </a:cubicBezTo>
                    <a:cubicBezTo>
                      <a:pt x="258869" y="494443"/>
                      <a:pt x="262799" y="498373"/>
                      <a:pt x="262799" y="502304"/>
                    </a:cubicBezTo>
                    <a:lnTo>
                      <a:pt x="258869" y="529708"/>
                    </a:lnTo>
                    <a:cubicBezTo>
                      <a:pt x="258869" y="533639"/>
                      <a:pt x="254938" y="537570"/>
                      <a:pt x="251008" y="537570"/>
                    </a:cubicBezTo>
                    <a:cubicBezTo>
                      <a:pt x="215742" y="545431"/>
                      <a:pt x="188229" y="553292"/>
                      <a:pt x="188229" y="564974"/>
                    </a:cubicBezTo>
                    <a:cubicBezTo>
                      <a:pt x="188229" y="580696"/>
                      <a:pt x="258760" y="584627"/>
                      <a:pt x="333330" y="572835"/>
                    </a:cubicBezTo>
                    <a:cubicBezTo>
                      <a:pt x="396110" y="564974"/>
                      <a:pt x="439236" y="549361"/>
                      <a:pt x="439236" y="541500"/>
                    </a:cubicBezTo>
                    <a:cubicBezTo>
                      <a:pt x="439236" y="533639"/>
                      <a:pt x="411832" y="525778"/>
                      <a:pt x="372636" y="525778"/>
                    </a:cubicBezTo>
                    <a:cubicBezTo>
                      <a:pt x="368705" y="525778"/>
                      <a:pt x="364775" y="521847"/>
                      <a:pt x="364775" y="517917"/>
                    </a:cubicBezTo>
                    <a:lnTo>
                      <a:pt x="364775" y="494443"/>
                    </a:lnTo>
                    <a:cubicBezTo>
                      <a:pt x="364775" y="490512"/>
                      <a:pt x="368705" y="486582"/>
                      <a:pt x="372636" y="486582"/>
                    </a:cubicBezTo>
                    <a:cubicBezTo>
                      <a:pt x="462819" y="478721"/>
                      <a:pt x="541212" y="470860"/>
                      <a:pt x="545142" y="470860"/>
                    </a:cubicBezTo>
                    <a:cubicBezTo>
                      <a:pt x="564795" y="462999"/>
                      <a:pt x="560864" y="443455"/>
                      <a:pt x="560864" y="443455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29" name="Vrije vorm: vorm 28">
                <a:extLst>
                  <a:ext uri="{FF2B5EF4-FFF2-40B4-BE49-F238E27FC236}">
                    <a16:creationId xmlns:a16="http://schemas.microsoft.com/office/drawing/2014/main" id="{9DB6CB21-D3BD-E153-4C4B-8D74F397837B}"/>
                  </a:ext>
                </a:extLst>
              </p:cNvPr>
              <p:cNvSpPr/>
              <p:nvPr/>
            </p:nvSpPr>
            <p:spPr>
              <a:xfrm>
                <a:off x="2282952" y="2922052"/>
                <a:ext cx="432139" cy="428100"/>
              </a:xfrm>
              <a:custGeom>
                <a:avLst/>
                <a:gdLst>
                  <a:gd name="connsiteX0" fmla="*/ 354730 w 432139"/>
                  <a:gd name="connsiteY0" fmla="*/ 3057 h 428100"/>
                  <a:gd name="connsiteX1" fmla="*/ 158640 w 432139"/>
                  <a:gd name="connsiteY1" fmla="*/ 289221 h 428100"/>
                  <a:gd name="connsiteX2" fmla="*/ 150779 w 432139"/>
                  <a:gd name="connsiteY2" fmla="*/ 289221 h 428100"/>
                  <a:gd name="connsiteX3" fmla="*/ 64526 w 432139"/>
                  <a:gd name="connsiteY3" fmla="*/ 199038 h 428100"/>
                  <a:gd name="connsiteX4" fmla="*/ 56665 w 432139"/>
                  <a:gd name="connsiteY4" fmla="*/ 199038 h 428100"/>
                  <a:gd name="connsiteX5" fmla="*/ 1747 w 432139"/>
                  <a:gd name="connsiteY5" fmla="*/ 265638 h 428100"/>
                  <a:gd name="connsiteX6" fmla="*/ 1747 w 432139"/>
                  <a:gd name="connsiteY6" fmla="*/ 273499 h 428100"/>
                  <a:gd name="connsiteX7" fmla="*/ 182114 w 432139"/>
                  <a:gd name="connsiteY7" fmla="*/ 426353 h 428100"/>
                  <a:gd name="connsiteX8" fmla="*/ 189975 w 432139"/>
                  <a:gd name="connsiteY8" fmla="*/ 426353 h 428100"/>
                  <a:gd name="connsiteX9" fmla="*/ 429192 w 432139"/>
                  <a:gd name="connsiteY9" fmla="*/ 81340 h 428100"/>
                  <a:gd name="connsiteX10" fmla="*/ 429192 w 432139"/>
                  <a:gd name="connsiteY10" fmla="*/ 73479 h 428100"/>
                  <a:gd name="connsiteX11" fmla="*/ 366412 w 432139"/>
                  <a:gd name="connsiteY11" fmla="*/ 2948 h 428100"/>
                  <a:gd name="connsiteX12" fmla="*/ 354621 w 432139"/>
                  <a:gd name="connsiteY12" fmla="*/ 2948 h 42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2139" h="428100">
                    <a:moveTo>
                      <a:pt x="354730" y="3057"/>
                    </a:moveTo>
                    <a:cubicBezTo>
                      <a:pt x="260616" y="85380"/>
                      <a:pt x="197946" y="206899"/>
                      <a:pt x="158640" y="289221"/>
                    </a:cubicBezTo>
                    <a:cubicBezTo>
                      <a:pt x="158640" y="293152"/>
                      <a:pt x="150779" y="293152"/>
                      <a:pt x="150779" y="289221"/>
                    </a:cubicBezTo>
                    <a:cubicBezTo>
                      <a:pt x="135057" y="269569"/>
                      <a:pt x="80248" y="214760"/>
                      <a:pt x="64526" y="199038"/>
                    </a:cubicBezTo>
                    <a:cubicBezTo>
                      <a:pt x="60596" y="195107"/>
                      <a:pt x="56665" y="195107"/>
                      <a:pt x="56665" y="199038"/>
                    </a:cubicBezTo>
                    <a:cubicBezTo>
                      <a:pt x="44874" y="214760"/>
                      <a:pt x="17469" y="250025"/>
                      <a:pt x="1747" y="265638"/>
                    </a:cubicBezTo>
                    <a:cubicBezTo>
                      <a:pt x="-2184" y="269569"/>
                      <a:pt x="1747" y="273499"/>
                      <a:pt x="1747" y="273499"/>
                    </a:cubicBezTo>
                    <a:cubicBezTo>
                      <a:pt x="40943" y="304834"/>
                      <a:pt x="142918" y="391088"/>
                      <a:pt x="182114" y="426353"/>
                    </a:cubicBezTo>
                    <a:cubicBezTo>
                      <a:pt x="186045" y="430284"/>
                      <a:pt x="189975" y="426353"/>
                      <a:pt x="189975" y="426353"/>
                    </a:cubicBezTo>
                    <a:cubicBezTo>
                      <a:pt x="264437" y="249916"/>
                      <a:pt x="339008" y="151980"/>
                      <a:pt x="429192" y="81340"/>
                    </a:cubicBezTo>
                    <a:cubicBezTo>
                      <a:pt x="433122" y="81340"/>
                      <a:pt x="433122" y="77410"/>
                      <a:pt x="429192" y="73479"/>
                    </a:cubicBezTo>
                    <a:lnTo>
                      <a:pt x="366412" y="2948"/>
                    </a:lnTo>
                    <a:cubicBezTo>
                      <a:pt x="358551" y="-983"/>
                      <a:pt x="354621" y="-983"/>
                      <a:pt x="354621" y="2948"/>
                    </a:cubicBezTo>
                    <a:close/>
                  </a:path>
                </a:pathLst>
              </a:custGeom>
              <a:solidFill>
                <a:srgbClr val="6FB74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0" name="Vrije vorm: vorm 29">
                <a:extLst>
                  <a:ext uri="{FF2B5EF4-FFF2-40B4-BE49-F238E27FC236}">
                    <a16:creationId xmlns:a16="http://schemas.microsoft.com/office/drawing/2014/main" id="{823EDAB9-A439-C733-4BE5-CDE26852D21E}"/>
                  </a:ext>
                </a:extLst>
              </p:cNvPr>
              <p:cNvSpPr/>
              <p:nvPr/>
            </p:nvSpPr>
            <p:spPr>
              <a:xfrm>
                <a:off x="1922490" y="2568414"/>
                <a:ext cx="586166" cy="388030"/>
              </a:xfrm>
              <a:custGeom>
                <a:avLst/>
                <a:gdLst>
                  <a:gd name="connsiteX0" fmla="*/ 577951 w 586166"/>
                  <a:gd name="connsiteY0" fmla="*/ 3931 h 388030"/>
                  <a:gd name="connsiteX1" fmla="*/ 491698 w 586166"/>
                  <a:gd name="connsiteY1" fmla="*/ 0 h 388030"/>
                  <a:gd name="connsiteX2" fmla="*/ 205425 w 586166"/>
                  <a:gd name="connsiteY2" fmla="*/ 62670 h 388030"/>
                  <a:gd name="connsiteX3" fmla="*/ 13266 w 586166"/>
                  <a:gd name="connsiteY3" fmla="*/ 184189 h 388030"/>
                  <a:gd name="connsiteX4" fmla="*/ 1474 w 586166"/>
                  <a:gd name="connsiteY4" fmla="*/ 235177 h 388030"/>
                  <a:gd name="connsiteX5" fmla="*/ 36740 w 586166"/>
                  <a:gd name="connsiteY5" fmla="*/ 388030 h 388030"/>
                  <a:gd name="connsiteX6" fmla="*/ 323013 w 586166"/>
                  <a:gd name="connsiteY6" fmla="*/ 258651 h 388030"/>
                  <a:gd name="connsiteX7" fmla="*/ 581882 w 586166"/>
                  <a:gd name="connsiteY7" fmla="*/ 19653 h 388030"/>
                  <a:gd name="connsiteX8" fmla="*/ 577951 w 586166"/>
                  <a:gd name="connsiteY8" fmla="*/ 3931 h 388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6166" h="388030">
                    <a:moveTo>
                      <a:pt x="577951" y="3931"/>
                    </a:moveTo>
                    <a:cubicBezTo>
                      <a:pt x="550547" y="0"/>
                      <a:pt x="519102" y="0"/>
                      <a:pt x="491698" y="0"/>
                    </a:cubicBezTo>
                    <a:cubicBezTo>
                      <a:pt x="389723" y="0"/>
                      <a:pt x="295608" y="19653"/>
                      <a:pt x="205425" y="62670"/>
                    </a:cubicBezTo>
                    <a:cubicBezTo>
                      <a:pt x="134893" y="90075"/>
                      <a:pt x="72114" y="133201"/>
                      <a:pt x="13266" y="184189"/>
                    </a:cubicBezTo>
                    <a:cubicBezTo>
                      <a:pt x="1474" y="199911"/>
                      <a:pt x="-2457" y="215524"/>
                      <a:pt x="1474" y="235177"/>
                    </a:cubicBezTo>
                    <a:lnTo>
                      <a:pt x="36740" y="388030"/>
                    </a:lnTo>
                    <a:lnTo>
                      <a:pt x="323013" y="258651"/>
                    </a:lnTo>
                    <a:lnTo>
                      <a:pt x="581882" y="19653"/>
                    </a:lnTo>
                    <a:cubicBezTo>
                      <a:pt x="589743" y="15722"/>
                      <a:pt x="585812" y="3931"/>
                      <a:pt x="577951" y="3931"/>
                    </a:cubicBez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1" name="Vrije vorm: vorm 30">
                <a:extLst>
                  <a:ext uri="{FF2B5EF4-FFF2-40B4-BE49-F238E27FC236}">
                    <a16:creationId xmlns:a16="http://schemas.microsoft.com/office/drawing/2014/main" id="{947B71CC-3DA8-8BAA-D89C-A6414C00CA39}"/>
                  </a:ext>
                </a:extLst>
              </p:cNvPr>
              <p:cNvSpPr/>
              <p:nvPr/>
            </p:nvSpPr>
            <p:spPr>
              <a:xfrm>
                <a:off x="2853315" y="3019223"/>
                <a:ext cx="262799" cy="670727"/>
              </a:xfrm>
              <a:custGeom>
                <a:avLst/>
                <a:gdLst>
                  <a:gd name="connsiteX0" fmla="*/ 43127 w 262799"/>
                  <a:gd name="connsiteY0" fmla="*/ 0 h 670727"/>
                  <a:gd name="connsiteX1" fmla="*/ 0 w 262799"/>
                  <a:gd name="connsiteY1" fmla="*/ 211703 h 670727"/>
                  <a:gd name="connsiteX2" fmla="*/ 101975 w 262799"/>
                  <a:gd name="connsiteY2" fmla="*/ 662512 h 670727"/>
                  <a:gd name="connsiteX3" fmla="*/ 121628 w 262799"/>
                  <a:gd name="connsiteY3" fmla="*/ 666443 h 670727"/>
                  <a:gd name="connsiteX4" fmla="*/ 219673 w 262799"/>
                  <a:gd name="connsiteY4" fmla="*/ 486075 h 670727"/>
                  <a:gd name="connsiteX5" fmla="*/ 262799 w 262799"/>
                  <a:gd name="connsiteY5" fmla="*/ 246968 h 670727"/>
                  <a:gd name="connsiteX6" fmla="*/ 243256 w 262799"/>
                  <a:gd name="connsiteY6" fmla="*/ 86253 h 670727"/>
                  <a:gd name="connsiteX7" fmla="*/ 207990 w 262799"/>
                  <a:gd name="connsiteY7" fmla="*/ 50988 h 670727"/>
                  <a:gd name="connsiteX8" fmla="*/ 43345 w 262799"/>
                  <a:gd name="connsiteY8" fmla="*/ 0 h 67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799" h="670727">
                    <a:moveTo>
                      <a:pt x="43127" y="0"/>
                    </a:moveTo>
                    <a:cubicBezTo>
                      <a:pt x="35266" y="47057"/>
                      <a:pt x="19653" y="125449"/>
                      <a:pt x="0" y="211703"/>
                    </a:cubicBezTo>
                    <a:lnTo>
                      <a:pt x="101975" y="662512"/>
                    </a:lnTo>
                    <a:cubicBezTo>
                      <a:pt x="101975" y="670373"/>
                      <a:pt x="113767" y="674304"/>
                      <a:pt x="121628" y="666443"/>
                    </a:cubicBezTo>
                    <a:cubicBezTo>
                      <a:pt x="164755" y="611525"/>
                      <a:pt x="196090" y="548855"/>
                      <a:pt x="219673" y="486075"/>
                    </a:cubicBezTo>
                    <a:cubicBezTo>
                      <a:pt x="247077" y="407683"/>
                      <a:pt x="262799" y="329291"/>
                      <a:pt x="262799" y="246968"/>
                    </a:cubicBezTo>
                    <a:cubicBezTo>
                      <a:pt x="262799" y="192050"/>
                      <a:pt x="254938" y="141171"/>
                      <a:pt x="243256" y="86253"/>
                    </a:cubicBezTo>
                    <a:cubicBezTo>
                      <a:pt x="239325" y="70531"/>
                      <a:pt x="227534" y="54918"/>
                      <a:pt x="207990" y="50988"/>
                    </a:cubicBezTo>
                    <a:lnTo>
                      <a:pt x="43345" y="0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2" name="Vrije vorm: vorm 31">
                <a:extLst>
                  <a:ext uri="{FF2B5EF4-FFF2-40B4-BE49-F238E27FC236}">
                    <a16:creationId xmlns:a16="http://schemas.microsoft.com/office/drawing/2014/main" id="{E32C1591-DBF7-5151-AFD0-0EF54080DDB6}"/>
                  </a:ext>
                </a:extLst>
              </p:cNvPr>
              <p:cNvSpPr/>
              <p:nvPr/>
            </p:nvSpPr>
            <p:spPr>
              <a:xfrm>
                <a:off x="2319828" y="3352335"/>
                <a:ext cx="581745" cy="611633"/>
              </a:xfrm>
              <a:custGeom>
                <a:avLst/>
                <a:gdLst>
                  <a:gd name="connsiteX0" fmla="*/ 498221 w 581745"/>
                  <a:gd name="connsiteY0" fmla="*/ 109 h 611633"/>
                  <a:gd name="connsiteX1" fmla="*/ 470817 w 581745"/>
                  <a:gd name="connsiteY1" fmla="*/ 86362 h 611633"/>
                  <a:gd name="connsiteX2" fmla="*/ 259114 w 581745"/>
                  <a:gd name="connsiteY2" fmla="*/ 372527 h 611633"/>
                  <a:gd name="connsiteX3" fmla="*/ 172861 w 581745"/>
                  <a:gd name="connsiteY3" fmla="*/ 439127 h 611633"/>
                  <a:gd name="connsiteX4" fmla="*/ 125804 w 581745"/>
                  <a:gd name="connsiteY4" fmla="*/ 478323 h 611633"/>
                  <a:gd name="connsiteX5" fmla="*/ 4285 w 581745"/>
                  <a:gd name="connsiteY5" fmla="*/ 591981 h 611633"/>
                  <a:gd name="connsiteX6" fmla="*/ 8215 w 581745"/>
                  <a:gd name="connsiteY6" fmla="*/ 607703 h 611633"/>
                  <a:gd name="connsiteX7" fmla="*/ 94469 w 581745"/>
                  <a:gd name="connsiteY7" fmla="*/ 611634 h 611633"/>
                  <a:gd name="connsiteX8" fmla="*/ 380742 w 581745"/>
                  <a:gd name="connsiteY8" fmla="*/ 548855 h 611633"/>
                  <a:gd name="connsiteX9" fmla="*/ 565040 w 581745"/>
                  <a:gd name="connsiteY9" fmla="*/ 427336 h 611633"/>
                  <a:gd name="connsiteX10" fmla="*/ 580762 w 581745"/>
                  <a:gd name="connsiteY10" fmla="*/ 380279 h 611633"/>
                  <a:gd name="connsiteX11" fmla="*/ 498439 w 581745"/>
                  <a:gd name="connsiteY11" fmla="*/ 0 h 61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1745" h="611633">
                    <a:moveTo>
                      <a:pt x="498221" y="109"/>
                    </a:moveTo>
                    <a:cubicBezTo>
                      <a:pt x="490360" y="31444"/>
                      <a:pt x="478568" y="58958"/>
                      <a:pt x="470817" y="86362"/>
                    </a:cubicBezTo>
                    <a:cubicBezTo>
                      <a:pt x="427690" y="196090"/>
                      <a:pt x="357159" y="290204"/>
                      <a:pt x="259114" y="372527"/>
                    </a:cubicBezTo>
                    <a:cubicBezTo>
                      <a:pt x="231710" y="396001"/>
                      <a:pt x="204196" y="415653"/>
                      <a:pt x="172861" y="439127"/>
                    </a:cubicBezTo>
                    <a:cubicBezTo>
                      <a:pt x="157139" y="450919"/>
                      <a:pt x="141526" y="462601"/>
                      <a:pt x="125804" y="478323"/>
                    </a:cubicBezTo>
                    <a:cubicBezTo>
                      <a:pt x="102330" y="501797"/>
                      <a:pt x="51342" y="548855"/>
                      <a:pt x="4285" y="591981"/>
                    </a:cubicBezTo>
                    <a:cubicBezTo>
                      <a:pt x="-3576" y="595912"/>
                      <a:pt x="354" y="607703"/>
                      <a:pt x="8215" y="607703"/>
                    </a:cubicBezTo>
                    <a:cubicBezTo>
                      <a:pt x="35620" y="611634"/>
                      <a:pt x="63134" y="611634"/>
                      <a:pt x="94469" y="611634"/>
                    </a:cubicBezTo>
                    <a:cubicBezTo>
                      <a:pt x="196444" y="611634"/>
                      <a:pt x="290558" y="591981"/>
                      <a:pt x="380742" y="548855"/>
                    </a:cubicBezTo>
                    <a:cubicBezTo>
                      <a:pt x="447343" y="517519"/>
                      <a:pt x="510122" y="478323"/>
                      <a:pt x="565040" y="427336"/>
                    </a:cubicBezTo>
                    <a:cubicBezTo>
                      <a:pt x="576832" y="415544"/>
                      <a:pt x="584583" y="396001"/>
                      <a:pt x="580762" y="380279"/>
                    </a:cubicBezTo>
                    <a:lnTo>
                      <a:pt x="498439" y="0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3" name="Vrije vorm: vorm 32">
                <a:extLst>
                  <a:ext uri="{FF2B5EF4-FFF2-40B4-BE49-F238E27FC236}">
                    <a16:creationId xmlns:a16="http://schemas.microsoft.com/office/drawing/2014/main" id="{C8D0EE53-7221-2C0C-4FE2-306211C9BEBE}"/>
                  </a:ext>
                </a:extLst>
              </p:cNvPr>
              <p:cNvSpPr/>
              <p:nvPr/>
            </p:nvSpPr>
            <p:spPr>
              <a:xfrm>
                <a:off x="1770174" y="3527836"/>
                <a:ext cx="608748" cy="406381"/>
              </a:xfrm>
              <a:custGeom>
                <a:avLst/>
                <a:gdLst>
                  <a:gd name="connsiteX0" fmla="*/ 608749 w 608748"/>
                  <a:gd name="connsiteY0" fmla="*/ 283279 h 406381"/>
                  <a:gd name="connsiteX1" fmla="*/ 404907 w 608748"/>
                  <a:gd name="connsiteY1" fmla="*/ 122564 h 406381"/>
                  <a:gd name="connsiteX2" fmla="*/ 12837 w 608748"/>
                  <a:gd name="connsiteY2" fmla="*/ 1045 h 406381"/>
                  <a:gd name="connsiteX3" fmla="*/ 1045 w 608748"/>
                  <a:gd name="connsiteY3" fmla="*/ 12837 h 406381"/>
                  <a:gd name="connsiteX4" fmla="*/ 185343 w 608748"/>
                  <a:gd name="connsiteY4" fmla="*/ 267666 h 406381"/>
                  <a:gd name="connsiteX5" fmla="*/ 436242 w 608748"/>
                  <a:gd name="connsiteY5" fmla="*/ 404907 h 406381"/>
                  <a:gd name="connsiteX6" fmla="*/ 487230 w 608748"/>
                  <a:gd name="connsiteY6" fmla="*/ 393116 h 406381"/>
                  <a:gd name="connsiteX7" fmla="*/ 608749 w 608748"/>
                  <a:gd name="connsiteY7" fmla="*/ 283388 h 406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8748" h="406381">
                    <a:moveTo>
                      <a:pt x="608749" y="283279"/>
                    </a:moveTo>
                    <a:cubicBezTo>
                      <a:pt x="561691" y="259805"/>
                      <a:pt x="479369" y="208818"/>
                      <a:pt x="404907" y="122564"/>
                    </a:cubicBezTo>
                    <a:lnTo>
                      <a:pt x="12837" y="1045"/>
                    </a:lnTo>
                    <a:cubicBezTo>
                      <a:pt x="4976" y="-2885"/>
                      <a:pt x="-2885" y="4976"/>
                      <a:pt x="1045" y="12837"/>
                    </a:cubicBezTo>
                    <a:cubicBezTo>
                      <a:pt x="40242" y="110882"/>
                      <a:pt x="103021" y="197135"/>
                      <a:pt x="185343" y="267666"/>
                    </a:cubicBezTo>
                    <a:cubicBezTo>
                      <a:pt x="259805" y="330336"/>
                      <a:pt x="346058" y="377394"/>
                      <a:pt x="436242" y="404907"/>
                    </a:cubicBezTo>
                    <a:cubicBezTo>
                      <a:pt x="451964" y="408838"/>
                      <a:pt x="471508" y="404907"/>
                      <a:pt x="487230" y="393116"/>
                    </a:cubicBezTo>
                    <a:lnTo>
                      <a:pt x="608749" y="283388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4" name="Vrije vorm: vorm 33">
                <a:extLst>
                  <a:ext uri="{FF2B5EF4-FFF2-40B4-BE49-F238E27FC236}">
                    <a16:creationId xmlns:a16="http://schemas.microsoft.com/office/drawing/2014/main" id="{B594A225-9308-EA27-59FA-F1B8DFB89EF1}"/>
                  </a:ext>
                </a:extLst>
              </p:cNvPr>
              <p:cNvSpPr/>
              <p:nvPr/>
            </p:nvSpPr>
            <p:spPr>
              <a:xfrm>
                <a:off x="1712371" y="2842541"/>
                <a:ext cx="399931" cy="725536"/>
              </a:xfrm>
              <a:custGeom>
                <a:avLst/>
                <a:gdLst>
                  <a:gd name="connsiteX0" fmla="*/ 399931 w 399931"/>
                  <a:gd name="connsiteY0" fmla="*/ 725537 h 725536"/>
                  <a:gd name="connsiteX1" fmla="*/ 392070 w 399931"/>
                  <a:gd name="connsiteY1" fmla="*/ 709815 h 725536"/>
                  <a:gd name="connsiteX2" fmla="*/ 333221 w 399931"/>
                  <a:gd name="connsiteY2" fmla="*/ 604018 h 725536"/>
                  <a:gd name="connsiteX3" fmla="*/ 294025 w 399931"/>
                  <a:gd name="connsiteY3" fmla="*/ 498221 h 725536"/>
                  <a:gd name="connsiteX4" fmla="*/ 180367 w 399931"/>
                  <a:gd name="connsiteY4" fmla="*/ 94469 h 725536"/>
                  <a:gd name="connsiteX5" fmla="*/ 156894 w 399931"/>
                  <a:gd name="connsiteY5" fmla="*/ 8215 h 725536"/>
                  <a:gd name="connsiteX6" fmla="*/ 141171 w 399931"/>
                  <a:gd name="connsiteY6" fmla="*/ 4285 h 725536"/>
                  <a:gd name="connsiteX7" fmla="*/ 43127 w 399931"/>
                  <a:gd name="connsiteY7" fmla="*/ 184653 h 725536"/>
                  <a:gd name="connsiteX8" fmla="*/ 0 w 399931"/>
                  <a:gd name="connsiteY8" fmla="*/ 423760 h 725536"/>
                  <a:gd name="connsiteX9" fmla="*/ 19653 w 399931"/>
                  <a:gd name="connsiteY9" fmla="*/ 580544 h 725536"/>
                  <a:gd name="connsiteX10" fmla="*/ 54918 w 399931"/>
                  <a:gd name="connsiteY10" fmla="*/ 615810 h 725536"/>
                  <a:gd name="connsiteX11" fmla="*/ 399931 w 399931"/>
                  <a:gd name="connsiteY11" fmla="*/ 725537 h 725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9931" h="725536">
                    <a:moveTo>
                      <a:pt x="399931" y="725537"/>
                    </a:moveTo>
                    <a:cubicBezTo>
                      <a:pt x="396001" y="721606"/>
                      <a:pt x="392070" y="717676"/>
                      <a:pt x="392070" y="709815"/>
                    </a:cubicBezTo>
                    <a:cubicBezTo>
                      <a:pt x="364666" y="678480"/>
                      <a:pt x="348943" y="639284"/>
                      <a:pt x="333221" y="604018"/>
                    </a:cubicBezTo>
                    <a:cubicBezTo>
                      <a:pt x="321430" y="568752"/>
                      <a:pt x="305817" y="533487"/>
                      <a:pt x="294025" y="498221"/>
                    </a:cubicBezTo>
                    <a:cubicBezTo>
                      <a:pt x="254829" y="388494"/>
                      <a:pt x="215633" y="255184"/>
                      <a:pt x="180367" y="94469"/>
                    </a:cubicBezTo>
                    <a:cubicBezTo>
                      <a:pt x="168576" y="63134"/>
                      <a:pt x="164645" y="31799"/>
                      <a:pt x="156894" y="8215"/>
                    </a:cubicBezTo>
                    <a:cubicBezTo>
                      <a:pt x="156894" y="354"/>
                      <a:pt x="145102" y="-3576"/>
                      <a:pt x="141171" y="4285"/>
                    </a:cubicBezTo>
                    <a:cubicBezTo>
                      <a:pt x="98045" y="59203"/>
                      <a:pt x="66710" y="121873"/>
                      <a:pt x="43127" y="184653"/>
                    </a:cubicBezTo>
                    <a:cubicBezTo>
                      <a:pt x="15722" y="263045"/>
                      <a:pt x="0" y="341437"/>
                      <a:pt x="0" y="423760"/>
                    </a:cubicBezTo>
                    <a:cubicBezTo>
                      <a:pt x="0" y="474747"/>
                      <a:pt x="7861" y="529556"/>
                      <a:pt x="19653" y="580544"/>
                    </a:cubicBezTo>
                    <a:cubicBezTo>
                      <a:pt x="23583" y="596266"/>
                      <a:pt x="35375" y="611879"/>
                      <a:pt x="54918" y="615810"/>
                    </a:cubicBezTo>
                    <a:lnTo>
                      <a:pt x="399931" y="725537"/>
                    </a:ln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  <p:sp>
            <p:nvSpPr>
              <p:cNvPr id="35" name="Vrije vorm: vorm 34">
                <a:extLst>
                  <a:ext uri="{FF2B5EF4-FFF2-40B4-BE49-F238E27FC236}">
                    <a16:creationId xmlns:a16="http://schemas.microsoft.com/office/drawing/2014/main" id="{837298AB-09A9-CB55-FF16-F88305B8A532}"/>
                  </a:ext>
                </a:extLst>
              </p:cNvPr>
              <p:cNvSpPr/>
              <p:nvPr/>
            </p:nvSpPr>
            <p:spPr>
              <a:xfrm>
                <a:off x="2406436" y="2594344"/>
                <a:ext cx="651930" cy="410202"/>
              </a:xfrm>
              <a:custGeom>
                <a:avLst/>
                <a:gdLst>
                  <a:gd name="connsiteX0" fmla="*/ 650830 w 651930"/>
                  <a:gd name="connsiteY0" fmla="*/ 397475 h 410202"/>
                  <a:gd name="connsiteX1" fmla="*/ 466532 w 651930"/>
                  <a:gd name="connsiteY1" fmla="*/ 142645 h 410202"/>
                  <a:gd name="connsiteX2" fmla="*/ 211703 w 651930"/>
                  <a:gd name="connsiteY2" fmla="*/ 1474 h 410202"/>
                  <a:gd name="connsiteX3" fmla="*/ 164645 w 651930"/>
                  <a:gd name="connsiteY3" fmla="*/ 13266 h 410202"/>
                  <a:gd name="connsiteX4" fmla="*/ 0 w 651930"/>
                  <a:gd name="connsiteY4" fmla="*/ 166119 h 410202"/>
                  <a:gd name="connsiteX5" fmla="*/ 35266 w 651930"/>
                  <a:gd name="connsiteY5" fmla="*/ 150397 h 410202"/>
                  <a:gd name="connsiteX6" fmla="*/ 458671 w 651930"/>
                  <a:gd name="connsiteY6" fmla="*/ 350308 h 410202"/>
                  <a:gd name="connsiteX7" fmla="*/ 646899 w 651930"/>
                  <a:gd name="connsiteY7" fmla="*/ 409157 h 410202"/>
                  <a:gd name="connsiteX8" fmla="*/ 650830 w 651930"/>
                  <a:gd name="connsiteY8" fmla="*/ 397365 h 410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1930" h="410202">
                    <a:moveTo>
                      <a:pt x="650830" y="397475"/>
                    </a:moveTo>
                    <a:cubicBezTo>
                      <a:pt x="611634" y="299430"/>
                      <a:pt x="544924" y="213177"/>
                      <a:pt x="466532" y="142645"/>
                    </a:cubicBezTo>
                    <a:cubicBezTo>
                      <a:pt x="392070" y="76045"/>
                      <a:pt x="305817" y="28988"/>
                      <a:pt x="211703" y="1474"/>
                    </a:cubicBezTo>
                    <a:cubicBezTo>
                      <a:pt x="195980" y="-2457"/>
                      <a:pt x="176437" y="1474"/>
                      <a:pt x="164645" y="13266"/>
                    </a:cubicBezTo>
                    <a:lnTo>
                      <a:pt x="0" y="166119"/>
                    </a:lnTo>
                    <a:lnTo>
                      <a:pt x="35266" y="150397"/>
                    </a:lnTo>
                    <a:lnTo>
                      <a:pt x="458671" y="350308"/>
                    </a:lnTo>
                    <a:lnTo>
                      <a:pt x="646899" y="409157"/>
                    </a:lnTo>
                    <a:cubicBezTo>
                      <a:pt x="646899" y="413088"/>
                      <a:pt x="654760" y="405227"/>
                      <a:pt x="650830" y="397365"/>
                    </a:cubicBezTo>
                    <a:close/>
                  </a:path>
                </a:pathLst>
              </a:custGeom>
              <a:solidFill>
                <a:srgbClr val="0981C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BE"/>
              </a:p>
            </p:txBody>
          </p:sp>
        </p:grpSp>
      </p:grpSp>
      <p:sp>
        <p:nvSpPr>
          <p:cNvPr id="37" name="Rechthoek: afgeronde hoeken 36">
            <a:extLst>
              <a:ext uri="{FF2B5EF4-FFF2-40B4-BE49-F238E27FC236}">
                <a16:creationId xmlns:a16="http://schemas.microsoft.com/office/drawing/2014/main" id="{226B49EE-B0BD-99B2-2866-F02AF9B67FB3}"/>
              </a:ext>
            </a:extLst>
          </p:cNvPr>
          <p:cNvSpPr/>
          <p:nvPr/>
        </p:nvSpPr>
        <p:spPr>
          <a:xfrm>
            <a:off x="2480308" y="3354898"/>
            <a:ext cx="3398357" cy="969440"/>
          </a:xfrm>
          <a:prstGeom prst="roundRect">
            <a:avLst>
              <a:gd name="adj" fmla="val 3604"/>
            </a:avLst>
          </a:prstGeom>
          <a:solidFill>
            <a:schemeClr val="bg1">
              <a:alpha val="0"/>
            </a:schemeClr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id="{27E0DD0D-2E9E-CE50-CB84-45DCB9967E07}"/>
              </a:ext>
            </a:extLst>
          </p:cNvPr>
          <p:cNvSpPr/>
          <p:nvPr/>
        </p:nvSpPr>
        <p:spPr>
          <a:xfrm>
            <a:off x="6309763" y="3354584"/>
            <a:ext cx="3398357" cy="969440"/>
          </a:xfrm>
          <a:prstGeom prst="roundRect">
            <a:avLst>
              <a:gd name="adj" fmla="val 3604"/>
            </a:avLst>
          </a:prstGeom>
          <a:solidFill>
            <a:schemeClr val="bg1">
              <a:alpha val="0"/>
            </a:schemeClr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0" name="Tekstvak 39">
            <a:extLst>
              <a:ext uri="{FF2B5EF4-FFF2-40B4-BE49-F238E27FC236}">
                <a16:creationId xmlns:a16="http://schemas.microsoft.com/office/drawing/2014/main" id="{6E90200E-0AF7-2BE7-B6EA-AAE19AC4EB60}"/>
              </a:ext>
            </a:extLst>
          </p:cNvPr>
          <p:cNvSpPr txBox="1"/>
          <p:nvPr/>
        </p:nvSpPr>
        <p:spPr>
          <a:xfrm>
            <a:off x="3472750" y="3518943"/>
            <a:ext cx="2242259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Keeping your organization secure</a:t>
            </a: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1837BB35-2716-19C0-5E97-0387AA879EB9}"/>
              </a:ext>
            </a:extLst>
          </p:cNvPr>
          <p:cNvSpPr txBox="1"/>
          <p:nvPr/>
        </p:nvSpPr>
        <p:spPr>
          <a:xfrm>
            <a:off x="7376421" y="3762451"/>
            <a:ext cx="25437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Saving lots of tim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25692F64-5106-05E2-F5FD-FEEFC34434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17595" t="-50" r="-17595" b="-50"/>
          <a:stretch/>
        </p:blipFill>
        <p:spPr>
          <a:xfrm>
            <a:off x="2763606" y="3526638"/>
            <a:ext cx="650305" cy="625961"/>
          </a:xfrm>
          <a:prstGeom prst="rect">
            <a:avLst/>
          </a:prstGeom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CAF4819-0B1F-8E62-109B-5879FF2FA9C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1686" r="-1686"/>
          <a:stretch/>
        </p:blipFill>
        <p:spPr>
          <a:xfrm>
            <a:off x="6624502" y="3526324"/>
            <a:ext cx="674030" cy="625961"/>
          </a:xfrm>
          <a:prstGeom prst="rect">
            <a:avLst/>
          </a:prstGeom>
        </p:spPr>
      </p:pic>
      <p:sp>
        <p:nvSpPr>
          <p:cNvPr id="50" name="Rechthoek: afgeronde hoeken 49">
            <a:extLst>
              <a:ext uri="{FF2B5EF4-FFF2-40B4-BE49-F238E27FC236}">
                <a16:creationId xmlns:a16="http://schemas.microsoft.com/office/drawing/2014/main" id="{AACFC3B1-71CB-0FCC-E8C6-4FFF35557773}"/>
              </a:ext>
            </a:extLst>
          </p:cNvPr>
          <p:cNvSpPr/>
          <p:nvPr/>
        </p:nvSpPr>
        <p:spPr>
          <a:xfrm>
            <a:off x="205057" y="4572419"/>
            <a:ext cx="11794856" cy="2953011"/>
          </a:xfrm>
          <a:prstGeom prst="roundRect">
            <a:avLst>
              <a:gd name="adj" fmla="val 6345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47" name="Google Shape;1838;p40">
            <a:extLst>
              <a:ext uri="{FF2B5EF4-FFF2-40B4-BE49-F238E27FC236}">
                <a16:creationId xmlns:a16="http://schemas.microsoft.com/office/drawing/2014/main" id="{4678F333-AE77-D2CB-D23A-A5787165D0F1}"/>
              </a:ext>
            </a:extLst>
          </p:cNvPr>
          <p:cNvSpPr txBox="1">
            <a:spLocks/>
          </p:cNvSpPr>
          <p:nvPr/>
        </p:nvSpPr>
        <p:spPr>
          <a:xfrm>
            <a:off x="4241739" y="5057698"/>
            <a:ext cx="3708523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Poppins ExtraBold"/>
              <a:buNone/>
              <a:defRPr sz="3000" b="0" i="0" u="none" strike="noStrike" cap="none">
                <a:solidFill>
                  <a:schemeClr val="dk2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pPr algn="ctr" defTabSz="1219170">
              <a:buClr>
                <a:srgbClr val="E4898A"/>
              </a:buClr>
              <a:buSzPts val="1100"/>
              <a:defRPr/>
            </a:pPr>
            <a:r>
              <a:rPr lang="en-US" sz="2400" b="1" kern="0">
                <a:solidFill>
                  <a:schemeClr val="bg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et’s keep in touch!</a:t>
            </a:r>
            <a:endParaRPr lang="en-US" sz="1800" b="1" kern="0">
              <a:solidFill>
                <a:schemeClr val="bg2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4" name="Groep 63">
            <a:extLst>
              <a:ext uri="{FF2B5EF4-FFF2-40B4-BE49-F238E27FC236}">
                <a16:creationId xmlns:a16="http://schemas.microsoft.com/office/drawing/2014/main" id="{022D0F5E-4FAB-B647-2975-EDDB110A77F3}"/>
              </a:ext>
            </a:extLst>
          </p:cNvPr>
          <p:cNvGrpSpPr/>
          <p:nvPr/>
        </p:nvGrpSpPr>
        <p:grpSpPr>
          <a:xfrm>
            <a:off x="1637187" y="5790927"/>
            <a:ext cx="9023104" cy="495300"/>
            <a:chOff x="3330477" y="5368544"/>
            <a:chExt cx="8998073" cy="495300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BD7A1AA9-DC16-B5FD-A3C2-76BD5A16F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10470" y="5368544"/>
              <a:ext cx="257175" cy="495300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9B765516-7139-6EAB-792E-589CC1355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30477" y="5417417"/>
              <a:ext cx="489034" cy="366776"/>
            </a:xfrm>
            <a:prstGeom prst="rect">
              <a:avLst/>
            </a:prstGeom>
          </p:spPr>
        </p:pic>
        <p:sp>
          <p:nvSpPr>
            <p:cNvPr id="58" name="Tekstvak 57">
              <a:extLst>
                <a:ext uri="{FF2B5EF4-FFF2-40B4-BE49-F238E27FC236}">
                  <a16:creationId xmlns:a16="http://schemas.microsoft.com/office/drawing/2014/main" id="{0BEFB5B4-6A3A-C243-9078-6665DAD9716E}"/>
                </a:ext>
              </a:extLst>
            </p:cNvPr>
            <p:cNvSpPr txBox="1"/>
            <p:nvPr/>
          </p:nvSpPr>
          <p:spPr>
            <a:xfrm>
              <a:off x="3886647" y="5418828"/>
              <a:ext cx="2693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1600">
                  <a:solidFill>
                    <a:schemeClr val="tx2"/>
                  </a:solidFill>
                </a:rPr>
                <a:t>sales@patchmypc.com</a:t>
              </a:r>
            </a:p>
          </p:txBody>
        </p:sp>
        <p:sp>
          <p:nvSpPr>
            <p:cNvPr id="59" name="Tekstvak 58">
              <a:extLst>
                <a:ext uri="{FF2B5EF4-FFF2-40B4-BE49-F238E27FC236}">
                  <a16:creationId xmlns:a16="http://schemas.microsoft.com/office/drawing/2014/main" id="{7D7DA2F8-47D8-BD3E-C5A3-51FD7B6A34E9}"/>
                </a:ext>
              </a:extLst>
            </p:cNvPr>
            <p:cNvSpPr txBox="1"/>
            <p:nvPr/>
          </p:nvSpPr>
          <p:spPr>
            <a:xfrm>
              <a:off x="7160826" y="5418828"/>
              <a:ext cx="189768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1600">
                  <a:solidFill>
                    <a:schemeClr val="tx2"/>
                  </a:solidFill>
                </a:rPr>
                <a:t>+1 800 250 2334</a:t>
              </a:r>
            </a:p>
          </p:txBody>
        </p: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228730DF-0C09-2AED-A8E6-B037EBE076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322260" y="5431528"/>
              <a:ext cx="385391" cy="369333"/>
            </a:xfrm>
            <a:prstGeom prst="rect">
              <a:avLst/>
            </a:prstGeom>
          </p:spPr>
        </p:pic>
        <p:sp>
          <p:nvSpPr>
            <p:cNvPr id="63" name="Tekstvak 62">
              <a:extLst>
                <a:ext uri="{FF2B5EF4-FFF2-40B4-BE49-F238E27FC236}">
                  <a16:creationId xmlns:a16="http://schemas.microsoft.com/office/drawing/2014/main" id="{F8EC1029-47EB-63E0-9C2D-EFADFD1092D0}"/>
                </a:ext>
              </a:extLst>
            </p:cNvPr>
            <p:cNvSpPr txBox="1"/>
            <p:nvPr/>
          </p:nvSpPr>
          <p:spPr>
            <a:xfrm>
              <a:off x="9867322" y="5418828"/>
              <a:ext cx="246122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BE" sz="1600">
                  <a:solidFill>
                    <a:schemeClr val="tx2"/>
                  </a:solidFill>
                </a:rPr>
                <a:t>www.patchmypc.com</a:t>
              </a:r>
            </a:p>
          </p:txBody>
        </p:sp>
      </p:grpSp>
      <p:grpSp>
        <p:nvGrpSpPr>
          <p:cNvPr id="66" name="Groep 65">
            <a:extLst>
              <a:ext uri="{FF2B5EF4-FFF2-40B4-BE49-F238E27FC236}">
                <a16:creationId xmlns:a16="http://schemas.microsoft.com/office/drawing/2014/main" id="{B2671712-7415-1B0B-B729-94897C5781D7}"/>
              </a:ext>
            </a:extLst>
          </p:cNvPr>
          <p:cNvGrpSpPr/>
          <p:nvPr/>
        </p:nvGrpSpPr>
        <p:grpSpPr>
          <a:xfrm>
            <a:off x="10291708" y="4034136"/>
            <a:ext cx="1101600" cy="1100370"/>
            <a:chOff x="10093524" y="4020330"/>
            <a:chExt cx="1101600" cy="1100370"/>
          </a:xfrm>
        </p:grpSpPr>
        <p:sp>
          <p:nvSpPr>
            <p:cNvPr id="65" name="Rechthoek: afgeronde hoeken 64">
              <a:extLst>
                <a:ext uri="{FF2B5EF4-FFF2-40B4-BE49-F238E27FC236}">
                  <a16:creationId xmlns:a16="http://schemas.microsoft.com/office/drawing/2014/main" id="{FD0D233C-8585-2CCB-8104-043A03DF4FC6}"/>
                </a:ext>
              </a:extLst>
            </p:cNvPr>
            <p:cNvSpPr/>
            <p:nvPr/>
          </p:nvSpPr>
          <p:spPr>
            <a:xfrm>
              <a:off x="10093524" y="4020330"/>
              <a:ext cx="1101600" cy="1100370"/>
            </a:xfrm>
            <a:prstGeom prst="roundRect">
              <a:avLst>
                <a:gd name="adj" fmla="val 6345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C34A4031-27B7-1E05-BEA2-B69A1B6167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141860" y="4054626"/>
              <a:ext cx="1007975" cy="10079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760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917">
        <p:fade/>
      </p:transition>
    </mc:Choice>
    <mc:Fallback xmlns="">
      <p:transition spd="med" advTm="5917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9" dur="10" fill="hold"/>
                                            <p:tgtEl>
                                              <p:spTgt spid="36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decel="10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750" fill="hold"/>
                                            <p:tgtEl>
                                              <p:spTgt spid="36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3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0"/>
                                      </p:iterate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2" presetClass="entr" presetSubtype="2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9" dur="7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3" presetClass="emph" presetSubtype="2" fill="hold" grpId="1" nodeType="withEffect">
                                      <p:stCondLst>
                                        <p:cond delay="2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animClr clrSpc="rgb" dir="cw">
                                          <p:cBhvr override="childStyle">
                                            <p:cTn id="2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chemeClr val="bg1"/>
                                          </p:to>
                                        </p:animClr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2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2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6" presetClass="emph" presetSubtype="0" fill="hold" nodeType="withEffect" p14:presetBounceEnd="99000">
                                      <p:stCondLst>
                                        <p:cond delay="14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34" dur="1000" fill="hold"/>
                                            <p:tgtEl>
                                              <p:spTgt spid="4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accel="50000" decel="5000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36" dur="250" fill="hold"/>
                                            <p:tgtEl>
                                              <p:spTgt spid="4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25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42" presetClass="path" presetSubtype="0" decel="100000" fill="hold" grpId="1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Motion origin="layout" path="M 0.01667 -0.00047 L -2.91667E-6 2.96296E-6 " pathEditMode="relative" rAng="0" ptsTypes="AA">
                                          <p:cBhvr>
                                            <p:cTn id="41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2" presetID="2" presetClass="entr" presetSubtype="2" decel="10000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6" presetID="23" presetClass="entr" presetSubtype="16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nodeType="withEffect" p14:presetBounceEnd="99000">
                                      <p:stCondLst>
                                        <p:cond delay="16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1" dur="1000" fill="hold"/>
                                            <p:tgtEl>
                                              <p:spTgt spid="46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accel="50000" decel="5000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250" fill="hold"/>
                                            <p:tgtEl>
                                              <p:spTgt spid="46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42" presetClass="path" presetSubtype="0" decel="100000" fill="hold" grpId="1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Motion origin="layout" path="M 0.01667 -0.00046 L 5E-6 1.85185E-6 " pathEditMode="relative" rAng="0" ptsTypes="AA">
                                          <p:cBhvr>
                                            <p:cTn id="58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4" decel="100000" fill="hold" nodeType="withEffect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2" presetClass="entr" presetSubtype="4" decel="100000" fill="hold" grpId="0" nodeType="withEffect">
                                      <p:stCondLst>
                                        <p:cond delay="235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2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42" presetClass="path" presetSubtype="0" decel="100000" fill="hold" grpId="1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animMotion origin="layout" path="M 0 0.03889 L 0 2.59259E-6 " pathEditMode="relative" rAng="0" ptsTypes="AA">
                                          <p:cBhvr>
                                            <p:cTn id="71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25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42" presetClass="path" presetSubtype="0" decel="100000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animMotion origin="layout" path="M 3.125E-6 0.03888 L 3.125E-6 4.44444E-6 " pathEditMode="relative" rAng="0" ptsTypes="AA">
                                          <p:cBhvr>
                                            <p:cTn id="7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 animBg="1"/>
          <p:bldP spid="8" grpId="0"/>
          <p:bldP spid="8" grpId="1"/>
          <p:bldP spid="37" grpId="0" animBg="1"/>
          <p:bldP spid="38" grpId="0" animBg="1"/>
          <p:bldP spid="40" grpId="0"/>
          <p:bldP spid="40" grpId="1"/>
          <p:bldP spid="41" grpId="0"/>
          <p:bldP spid="41" grpId="1"/>
          <p:bldP spid="50" grpId="0" animBg="1"/>
          <p:bldP spid="47" grpId="0"/>
          <p:bldP spid="47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9" dur="10" fill="hold"/>
                                            <p:tgtEl>
                                              <p:spTgt spid="36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decel="10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750" fill="hold"/>
                                            <p:tgtEl>
                                              <p:spTgt spid="36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3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0"/>
                                      </p:iterate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2" presetClass="entr" presetSubtype="2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9" dur="7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3" presetClass="emph" presetSubtype="2" fill="hold" grpId="1" nodeType="withEffect">
                                      <p:stCondLst>
                                        <p:cond delay="2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animClr clrSpc="rgb" dir="cw">
                                          <p:cBhvr override="childStyle">
                                            <p:cTn id="2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chemeClr val="bg1"/>
                                          </p:to>
                                        </p:animClr>
                                      </p:childTnLst>
                                    </p:cTn>
                                  </p:par>
                                  <p:par>
                                    <p:cTn id="22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iterate type="lt">
                                        <p:tmPct val="5000"/>
                                      </p:iterate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2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16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2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2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6" presetClass="emph" presetSubtype="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34" dur="1000" fill="hold"/>
                                            <p:tgtEl>
                                              <p:spTgt spid="4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accel="50000" decel="5000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Scale>
                                          <p:cBhvr>
                                            <p:cTn id="36" dur="250" fill="hold"/>
                                            <p:tgtEl>
                                              <p:spTgt spid="4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25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42" presetClass="path" presetSubtype="0" decel="100000" fill="hold" grpId="1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animMotion origin="layout" path="M 0.01667 -0.00047 L -2.91667E-6 2.96296E-6 " pathEditMode="relative" rAng="0" ptsTypes="AA">
                                          <p:cBhvr>
                                            <p:cTn id="41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2" presetID="2" presetClass="entr" presetSubtype="2" decel="10000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6" presetID="23" presetClass="entr" presetSubtype="16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Scale>
                                          <p:cBhvr>
                                            <p:cTn id="51" dur="1000" fill="hold"/>
                                            <p:tgtEl>
                                              <p:spTgt spid="46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accel="50000" decel="5000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250" fill="hold"/>
                                            <p:tgtEl>
                                              <p:spTgt spid="46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42" presetClass="path" presetSubtype="0" decel="100000" fill="hold" grpId="1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Motion origin="layout" path="M 0.01667 -0.00046 L 5E-6 1.85185E-6 " pathEditMode="relative" rAng="0" ptsTypes="AA">
                                          <p:cBhvr>
                                            <p:cTn id="58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4" decel="100000" fill="hold" nodeType="withEffect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2" presetClass="entr" presetSubtype="4" decel="100000" fill="hold" grpId="0" nodeType="withEffect">
                                      <p:stCondLst>
                                        <p:cond delay="235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2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42" presetClass="path" presetSubtype="0" decel="100000" fill="hold" grpId="1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animMotion origin="layout" path="M 0 0.03889 L 0 2.59259E-6 " pathEditMode="relative" rAng="0" ptsTypes="AA">
                                          <p:cBhvr>
                                            <p:cTn id="71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25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42" presetClass="path" presetSubtype="0" decel="100000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animMotion origin="layout" path="M 3.125E-6 0.03888 L 3.125E-6 4.44444E-6 " pathEditMode="relative" rAng="0" ptsTypes="AA">
                                          <p:cBhvr>
                                            <p:cTn id="7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 animBg="1"/>
          <p:bldP spid="8" grpId="0"/>
          <p:bldP spid="8" grpId="1"/>
          <p:bldP spid="37" grpId="0" animBg="1"/>
          <p:bldP spid="38" grpId="0" animBg="1"/>
          <p:bldP spid="40" grpId="0"/>
          <p:bldP spid="40" grpId="1"/>
          <p:bldP spid="41" grpId="0"/>
          <p:bldP spid="41" grpId="1"/>
          <p:bldP spid="50" grpId="0" animBg="1"/>
          <p:bldP spid="47" grpId="0"/>
          <p:bldP spid="47" grpId="1"/>
        </p:bld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E1B822F-B222-109B-EBF4-03148F8CF49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600" t="1063" r="11600" b="1063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50315597-B5D5-70C1-BE33-E64371B77498}"/>
              </a:ext>
            </a:extLst>
          </p:cNvPr>
          <p:cNvSpPr/>
          <p:nvPr/>
        </p:nvSpPr>
        <p:spPr>
          <a:xfrm>
            <a:off x="196948" y="1040525"/>
            <a:ext cx="11810070" cy="5599426"/>
          </a:xfrm>
          <a:prstGeom prst="roundRect">
            <a:avLst>
              <a:gd name="adj" fmla="val 1484"/>
            </a:avLst>
          </a:prstGeom>
          <a:solidFill>
            <a:srgbClr val="F0F0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0" name="Rechthoek: afgeronde hoeken 59">
            <a:extLst>
              <a:ext uri="{FF2B5EF4-FFF2-40B4-BE49-F238E27FC236}">
                <a16:creationId xmlns:a16="http://schemas.microsoft.com/office/drawing/2014/main" id="{EDB0DBCE-2F41-36FD-996C-E0E63466AF23}"/>
              </a:ext>
            </a:extLst>
          </p:cNvPr>
          <p:cNvSpPr/>
          <p:nvPr/>
        </p:nvSpPr>
        <p:spPr>
          <a:xfrm>
            <a:off x="196948" y="1040525"/>
            <a:ext cx="11810070" cy="5599426"/>
          </a:xfrm>
          <a:prstGeom prst="roundRect">
            <a:avLst>
              <a:gd name="adj" fmla="val 1484"/>
            </a:avLst>
          </a:prstGeom>
          <a:blipFill dpi="0" rotWithShape="1">
            <a:blip r:embed="rId6">
              <a:grayscl/>
              <a:alphaModFix amt="11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4833" b="-5777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1" name="Rechthoek: afgeronde hoeken 60">
            <a:extLst>
              <a:ext uri="{FF2B5EF4-FFF2-40B4-BE49-F238E27FC236}">
                <a16:creationId xmlns:a16="http://schemas.microsoft.com/office/drawing/2014/main" id="{BA4701A8-AB6E-DCA7-440A-63FAEDFE720F}"/>
              </a:ext>
            </a:extLst>
          </p:cNvPr>
          <p:cNvSpPr/>
          <p:nvPr/>
        </p:nvSpPr>
        <p:spPr>
          <a:xfrm>
            <a:off x="196948" y="1040525"/>
            <a:ext cx="11810070" cy="5599426"/>
          </a:xfrm>
          <a:prstGeom prst="roundRect">
            <a:avLst>
              <a:gd name="adj" fmla="val 1484"/>
            </a:avLst>
          </a:prstGeom>
          <a:gradFill>
            <a:gsLst>
              <a:gs pos="0">
                <a:srgbClr val="F0F0F4"/>
              </a:gs>
              <a:gs pos="92000">
                <a:srgbClr val="F0F0F4">
                  <a:alpha val="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CE40DB6-BBC5-6C87-8434-B3B16F77F8EB}"/>
              </a:ext>
            </a:extLst>
          </p:cNvPr>
          <p:cNvGrpSpPr/>
          <p:nvPr/>
        </p:nvGrpSpPr>
        <p:grpSpPr>
          <a:xfrm>
            <a:off x="4113229" y="681239"/>
            <a:ext cx="3946689" cy="702427"/>
            <a:chOff x="1477915" y="2805474"/>
            <a:chExt cx="2545896" cy="702427"/>
          </a:xfrm>
        </p:grpSpPr>
        <p:sp>
          <p:nvSpPr>
            <p:cNvPr id="3" name="Rechthoek: afgeronde hoeken 2">
              <a:extLst>
                <a:ext uri="{FF2B5EF4-FFF2-40B4-BE49-F238E27FC236}">
                  <a16:creationId xmlns:a16="http://schemas.microsoft.com/office/drawing/2014/main" id="{D2CA9E37-30E4-EE9C-7877-5A51FD6D2CDA}"/>
                </a:ext>
              </a:extLst>
            </p:cNvPr>
            <p:cNvSpPr/>
            <p:nvPr/>
          </p:nvSpPr>
          <p:spPr>
            <a:xfrm>
              <a:off x="1477915" y="2805474"/>
              <a:ext cx="2545896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D708B6EC-CF9E-733E-B845-B15AB3975B0F}"/>
                </a:ext>
              </a:extLst>
            </p:cNvPr>
            <p:cNvSpPr txBox="1"/>
            <p:nvPr/>
          </p:nvSpPr>
          <p:spPr>
            <a:xfrm>
              <a:off x="1558947" y="2828297"/>
              <a:ext cx="239599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600">
                  <a:solidFill>
                    <a:schemeClr val="bg1"/>
                  </a:solidFill>
                </a:rPr>
                <a:t>Why Patch?</a:t>
              </a:r>
            </a:p>
          </p:txBody>
        </p:sp>
      </p:grpSp>
      <p:sp>
        <p:nvSpPr>
          <p:cNvPr id="18" name="Rechthoek: afgeronde hoeken 17">
            <a:extLst>
              <a:ext uri="{FF2B5EF4-FFF2-40B4-BE49-F238E27FC236}">
                <a16:creationId xmlns:a16="http://schemas.microsoft.com/office/drawing/2014/main" id="{4C3A0035-42FF-E840-CEE8-68797C10594F}"/>
              </a:ext>
            </a:extLst>
          </p:cNvPr>
          <p:cNvSpPr/>
          <p:nvPr/>
        </p:nvSpPr>
        <p:spPr>
          <a:xfrm>
            <a:off x="1194619" y="2492163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72C2D4B1-456C-B273-20B4-42D0B66A589D}"/>
              </a:ext>
            </a:extLst>
          </p:cNvPr>
          <p:cNvSpPr txBox="1"/>
          <p:nvPr/>
        </p:nvSpPr>
        <p:spPr>
          <a:xfrm>
            <a:off x="1619048" y="3873657"/>
            <a:ext cx="1602000" cy="451751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Vulnerabilities</a:t>
            </a:r>
          </a:p>
        </p:txBody>
      </p:sp>
      <p:sp>
        <p:nvSpPr>
          <p:cNvPr id="21" name="Rechthoek: afgeronde hoeken 20">
            <a:extLst>
              <a:ext uri="{FF2B5EF4-FFF2-40B4-BE49-F238E27FC236}">
                <a16:creationId xmlns:a16="http://schemas.microsoft.com/office/drawing/2014/main" id="{4B99AC8E-28EA-A0E1-4D5F-29BDA135E402}"/>
              </a:ext>
            </a:extLst>
          </p:cNvPr>
          <p:cNvSpPr/>
          <p:nvPr/>
        </p:nvSpPr>
        <p:spPr>
          <a:xfrm>
            <a:off x="1714297" y="3781354"/>
            <a:ext cx="1602000" cy="638013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7" name="Rechthoek: afgeronde hoeken 36">
            <a:extLst>
              <a:ext uri="{FF2B5EF4-FFF2-40B4-BE49-F238E27FC236}">
                <a16:creationId xmlns:a16="http://schemas.microsoft.com/office/drawing/2014/main" id="{8826DF81-446F-C4A3-FE44-BB89730BF261}"/>
              </a:ext>
            </a:extLst>
          </p:cNvPr>
          <p:cNvSpPr/>
          <p:nvPr/>
        </p:nvSpPr>
        <p:spPr>
          <a:xfrm>
            <a:off x="6099639" y="2166238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39" name="Tekstvak 38">
            <a:extLst>
              <a:ext uri="{FF2B5EF4-FFF2-40B4-BE49-F238E27FC236}">
                <a16:creationId xmlns:a16="http://schemas.microsoft.com/office/drawing/2014/main" id="{00A0A5C9-93A6-9FDC-48E2-DC5BC8B391D5}"/>
              </a:ext>
            </a:extLst>
          </p:cNvPr>
          <p:cNvSpPr txBox="1"/>
          <p:nvPr/>
        </p:nvSpPr>
        <p:spPr>
          <a:xfrm>
            <a:off x="6524068" y="3547732"/>
            <a:ext cx="1602000" cy="638013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Malware / ransomware</a:t>
            </a:r>
          </a:p>
        </p:txBody>
      </p:sp>
      <p:sp>
        <p:nvSpPr>
          <p:cNvPr id="40" name="Rechthoek: afgeronde hoeken 39">
            <a:extLst>
              <a:ext uri="{FF2B5EF4-FFF2-40B4-BE49-F238E27FC236}">
                <a16:creationId xmlns:a16="http://schemas.microsoft.com/office/drawing/2014/main" id="{21E5231C-7E77-1A8A-8A22-E628BE60557F}"/>
              </a:ext>
            </a:extLst>
          </p:cNvPr>
          <p:cNvSpPr/>
          <p:nvPr/>
        </p:nvSpPr>
        <p:spPr>
          <a:xfrm>
            <a:off x="6619317" y="3455429"/>
            <a:ext cx="1602000" cy="831425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1" name="Rechthoek: afgeronde hoeken 40">
            <a:extLst>
              <a:ext uri="{FF2B5EF4-FFF2-40B4-BE49-F238E27FC236}">
                <a16:creationId xmlns:a16="http://schemas.microsoft.com/office/drawing/2014/main" id="{B52AE125-C345-F4D9-695B-DA1CA0BDB54A}"/>
              </a:ext>
            </a:extLst>
          </p:cNvPr>
          <p:cNvSpPr/>
          <p:nvPr/>
        </p:nvSpPr>
        <p:spPr>
          <a:xfrm>
            <a:off x="3820209" y="3740142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70DE3D41-502A-4FD3-2264-BDF7E629D660}"/>
              </a:ext>
            </a:extLst>
          </p:cNvPr>
          <p:cNvSpPr txBox="1"/>
          <p:nvPr/>
        </p:nvSpPr>
        <p:spPr>
          <a:xfrm>
            <a:off x="4416714" y="5121636"/>
            <a:ext cx="1429923" cy="646986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Exploits by hackers</a:t>
            </a:r>
          </a:p>
        </p:txBody>
      </p:sp>
      <p:sp>
        <p:nvSpPr>
          <p:cNvPr id="44" name="Rechthoek: afgeronde hoeken 43">
            <a:extLst>
              <a:ext uri="{FF2B5EF4-FFF2-40B4-BE49-F238E27FC236}">
                <a16:creationId xmlns:a16="http://schemas.microsoft.com/office/drawing/2014/main" id="{9A4E89E8-6CFE-DF9A-1DFD-6E084132B230}"/>
              </a:ext>
            </a:extLst>
          </p:cNvPr>
          <p:cNvSpPr/>
          <p:nvPr/>
        </p:nvSpPr>
        <p:spPr>
          <a:xfrm>
            <a:off x="4339887" y="5219366"/>
            <a:ext cx="1602000" cy="638013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5" name="Rechthoek: afgeronde hoeken 44">
            <a:extLst>
              <a:ext uri="{FF2B5EF4-FFF2-40B4-BE49-F238E27FC236}">
                <a16:creationId xmlns:a16="http://schemas.microsoft.com/office/drawing/2014/main" id="{CB3E9CCA-94AD-C8A6-7990-ADCF246FE084}"/>
              </a:ext>
            </a:extLst>
          </p:cNvPr>
          <p:cNvSpPr/>
          <p:nvPr/>
        </p:nvSpPr>
        <p:spPr>
          <a:xfrm>
            <a:off x="8725229" y="3524408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41F9F02C-A07A-354C-19E4-7801FEC8767D}"/>
              </a:ext>
            </a:extLst>
          </p:cNvPr>
          <p:cNvSpPr txBox="1"/>
          <p:nvPr/>
        </p:nvSpPr>
        <p:spPr>
          <a:xfrm>
            <a:off x="9321734" y="5003632"/>
            <a:ext cx="1429923" cy="451526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Data breach</a:t>
            </a:r>
          </a:p>
        </p:txBody>
      </p:sp>
      <p:sp>
        <p:nvSpPr>
          <p:cNvPr id="48" name="Rechthoek: afgeronde hoeken 47">
            <a:extLst>
              <a:ext uri="{FF2B5EF4-FFF2-40B4-BE49-F238E27FC236}">
                <a16:creationId xmlns:a16="http://schemas.microsoft.com/office/drawing/2014/main" id="{97AB35D9-DF66-2776-CB96-12AE4803330A}"/>
              </a:ext>
            </a:extLst>
          </p:cNvPr>
          <p:cNvSpPr/>
          <p:nvPr/>
        </p:nvSpPr>
        <p:spPr>
          <a:xfrm>
            <a:off x="9244907" y="5003633"/>
            <a:ext cx="1602000" cy="549256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02B31CE6-C9BD-B9A9-9C5D-01291D16F6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01406" y="2797327"/>
            <a:ext cx="786683" cy="893958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BCC4BCEB-0B1E-BF2D-4937-55FD9C78F8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68156" y="4013728"/>
            <a:ext cx="893958" cy="893958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E36EEB0C-5C9F-82C8-3CFB-CA5EFD1B87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88905" y="2460430"/>
            <a:ext cx="859575" cy="893958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91BEF592-F834-6399-708A-48F8EB6C2F3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029088" y="3878081"/>
            <a:ext cx="989830" cy="8946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4446991"/>
      </p:ext>
    </p:extLst>
  </p:cSld>
  <p:clrMapOvr>
    <a:masterClrMapping/>
  </p:clrMapOvr>
  <p:transition spd="slow" advTm="9949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1" dur="300" fill="hold"/>
                                        <p:tgtEl>
                                          <p:spTgt spid="2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400"/>
                            </p:stCondLst>
                            <p:childTnLst>
                              <p:par>
                                <p:cTn id="2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10" fill="hold"/>
                                        <p:tgtEl>
                                          <p:spTgt spid="5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5" dur="750" fill="hold"/>
                                        <p:tgtEl>
                                          <p:spTgt spid="5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7 L 2.5E-6 4.81481E-6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4" dur="10" fill="hold"/>
                                        <p:tgtEl>
                                          <p:spTgt spid="5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6" dur="750" fill="hold"/>
                                        <p:tgtEl>
                                          <p:spTgt spid="5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7 -0.00046 L -3.33333E-6 -1.48148E-6 " pathEditMode="relative" rAng="0" ptsTypes="AA">
                                      <p:cBhvr>
                                        <p:cTn id="6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75" dur="10" fill="hold"/>
                                        <p:tgtEl>
                                          <p:spTgt spid="5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77" dur="750" fill="hold"/>
                                        <p:tgtEl>
                                          <p:spTgt spid="5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7 -0.00046 L -1.25E-6 1.11111E-6 " pathEditMode="relative" rAng="0" ptsTypes="AA">
                                      <p:cBhvr>
                                        <p:cTn id="8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6" dur="10" fill="hold"/>
                                        <p:tgtEl>
                                          <p:spTgt spid="5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8" dur="750" fill="hold"/>
                                        <p:tgtEl>
                                          <p:spTgt spid="5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666 -0.00046 L 2.91667E-6 0 " pathEditMode="relative" rAng="0" ptsTypes="AA">
                                      <p:cBhvr>
                                        <p:cTn id="10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6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0" grpId="0" animBg="1"/>
      <p:bldP spid="61" grpId="0" animBg="1"/>
      <p:bldP spid="18" grpId="0" animBg="1"/>
      <p:bldP spid="20" grpId="0" animBg="1"/>
      <p:bldP spid="20" grpId="1" animBg="1"/>
      <p:bldP spid="21" grpId="0" animBg="1"/>
      <p:bldP spid="37" grpId="0" animBg="1"/>
      <p:bldP spid="39" grpId="0" animBg="1"/>
      <p:bldP spid="39" grpId="1" animBg="1"/>
      <p:bldP spid="40" grpId="0" animBg="1"/>
      <p:bldP spid="41" grpId="0" animBg="1"/>
      <p:bldP spid="43" grpId="0" animBg="1"/>
      <p:bldP spid="43" grpId="1" animBg="1"/>
      <p:bldP spid="44" grpId="0" animBg="1"/>
      <p:bldP spid="45" grpId="0" animBg="1"/>
      <p:bldP spid="47" grpId="0" animBg="1"/>
      <p:bldP spid="47" grpId="1" animBg="1"/>
      <p:bldP spid="4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!!BG_blauw" hidden="1">
            <a:extLst>
              <a:ext uri="{FF2B5EF4-FFF2-40B4-BE49-F238E27FC236}">
                <a16:creationId xmlns:a16="http://schemas.microsoft.com/office/drawing/2014/main" id="{D9E27E61-EC4C-742E-AEFC-01786C7FC50E}"/>
              </a:ext>
            </a:extLst>
          </p:cNvPr>
          <p:cNvGrpSpPr/>
          <p:nvPr/>
        </p:nvGrpSpPr>
        <p:grpSpPr>
          <a:xfrm>
            <a:off x="759654" y="-55"/>
            <a:ext cx="11432346" cy="6858055"/>
            <a:chOff x="759654" y="-55"/>
            <a:chExt cx="11432346" cy="6858055"/>
          </a:xfrm>
        </p:grpSpPr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429389F5-2830-85BB-E09F-8B5D2AE46E0E}"/>
                </a:ext>
              </a:extLst>
            </p:cNvPr>
            <p:cNvSpPr/>
            <p:nvPr/>
          </p:nvSpPr>
          <p:spPr>
            <a:xfrm>
              <a:off x="6095999" y="0"/>
              <a:ext cx="6096001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D5A6A9DC-5BD0-0A5D-E49D-FBAAA7BEE65A}"/>
                </a:ext>
              </a:extLst>
            </p:cNvPr>
            <p:cNvSpPr/>
            <p:nvPr/>
          </p:nvSpPr>
          <p:spPr>
            <a:xfrm rot="10800000">
              <a:off x="759654" y="-55"/>
              <a:ext cx="11432345" cy="6858000"/>
            </a:xfrm>
            <a:prstGeom prst="rect">
              <a:avLst/>
            </a:prstGeom>
            <a:gradFill flip="none" rotWithShape="1">
              <a:gsLst>
                <a:gs pos="0">
                  <a:srgbClr val="006094">
                    <a:alpha val="72000"/>
                  </a:srgbClr>
                </a:gs>
                <a:gs pos="52000">
                  <a:schemeClr val="accent1">
                    <a:alpha val="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grpSp>
        <p:nvGrpSpPr>
          <p:cNvPr id="9" name="!!BG_blauw2">
            <a:extLst>
              <a:ext uri="{FF2B5EF4-FFF2-40B4-BE49-F238E27FC236}">
                <a16:creationId xmlns:a16="http://schemas.microsoft.com/office/drawing/2014/main" id="{A351E697-15E1-0C90-5DEC-4AD178F27E13}"/>
              </a:ext>
            </a:extLst>
          </p:cNvPr>
          <p:cNvGrpSpPr/>
          <p:nvPr/>
        </p:nvGrpSpPr>
        <p:grpSpPr>
          <a:xfrm>
            <a:off x="0" y="-55"/>
            <a:ext cx="12208711" cy="6858055"/>
            <a:chOff x="-16711" y="-55"/>
            <a:chExt cx="12208711" cy="6858055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79F91997-351D-0CEC-5542-0AAED545D7E8}"/>
                </a:ext>
              </a:extLst>
            </p:cNvPr>
            <p:cNvSpPr/>
            <p:nvPr/>
          </p:nvSpPr>
          <p:spPr>
            <a:xfrm>
              <a:off x="-16711" y="0"/>
              <a:ext cx="12208711" cy="6858000"/>
            </a:xfrm>
            <a:prstGeom prst="rect">
              <a:avLst/>
            </a:prstGeom>
            <a:solidFill>
              <a:srgbClr val="1515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B25390C-DD01-FCD3-16B4-4B30C9E48A04}"/>
                </a:ext>
              </a:extLst>
            </p:cNvPr>
            <p:cNvSpPr/>
            <p:nvPr/>
          </p:nvSpPr>
          <p:spPr>
            <a:xfrm rot="10800000">
              <a:off x="-1" y="-55"/>
              <a:ext cx="12191999" cy="6858000"/>
            </a:xfrm>
            <a:prstGeom prst="rect">
              <a:avLst/>
            </a:prstGeom>
            <a:gradFill flip="none" rotWithShape="1">
              <a:gsLst>
                <a:gs pos="0">
                  <a:srgbClr val="006094">
                    <a:alpha val="72000"/>
                  </a:srgbClr>
                </a:gs>
                <a:gs pos="52000">
                  <a:srgbClr val="15152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58" name="Tekstvak 57">
            <a:extLst>
              <a:ext uri="{FF2B5EF4-FFF2-40B4-BE49-F238E27FC236}">
                <a16:creationId xmlns:a16="http://schemas.microsoft.com/office/drawing/2014/main" id="{A32B6762-F52E-AFF8-9487-841A360E389A}"/>
              </a:ext>
            </a:extLst>
          </p:cNvPr>
          <p:cNvSpPr txBox="1"/>
          <p:nvPr/>
        </p:nvSpPr>
        <p:spPr>
          <a:xfrm>
            <a:off x="304800" y="703041"/>
            <a:ext cx="11582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Why our customers care about</a:t>
            </a:r>
            <a:endParaRPr lang="nl-BE" sz="2400"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</a:endParaRPr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3AA670E8-F334-7770-FDA7-C70FA50AF0AF}"/>
              </a:ext>
            </a:extLst>
          </p:cNvPr>
          <p:cNvSpPr txBox="1"/>
          <p:nvPr/>
        </p:nvSpPr>
        <p:spPr>
          <a:xfrm>
            <a:off x="304800" y="975703"/>
            <a:ext cx="11582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sz="5400" b="1">
                <a:solidFill>
                  <a:schemeClr val="bg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Patching</a:t>
            </a:r>
          </a:p>
        </p:txBody>
      </p:sp>
      <p:sp>
        <p:nvSpPr>
          <p:cNvPr id="61" name="Rechthoek: afgeronde hoeken 60">
            <a:extLst>
              <a:ext uri="{FF2B5EF4-FFF2-40B4-BE49-F238E27FC236}">
                <a16:creationId xmlns:a16="http://schemas.microsoft.com/office/drawing/2014/main" id="{F4CED50B-86F2-8146-4BB3-30ECFC6519B6}"/>
              </a:ext>
            </a:extLst>
          </p:cNvPr>
          <p:cNvSpPr/>
          <p:nvPr/>
        </p:nvSpPr>
        <p:spPr>
          <a:xfrm>
            <a:off x="777444" y="2285384"/>
            <a:ext cx="4017010" cy="1674459"/>
          </a:xfrm>
          <a:prstGeom prst="roundRect">
            <a:avLst>
              <a:gd name="adj" fmla="val 616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2" name="Rechthoek: afgeronde hoeken 61">
            <a:extLst>
              <a:ext uri="{FF2B5EF4-FFF2-40B4-BE49-F238E27FC236}">
                <a16:creationId xmlns:a16="http://schemas.microsoft.com/office/drawing/2014/main" id="{906C1A37-14D1-EDC5-8BBB-A87C5F29C8B1}"/>
              </a:ext>
            </a:extLst>
          </p:cNvPr>
          <p:cNvSpPr/>
          <p:nvPr/>
        </p:nvSpPr>
        <p:spPr>
          <a:xfrm>
            <a:off x="893273" y="2401361"/>
            <a:ext cx="4017010" cy="1674459"/>
          </a:xfrm>
          <a:prstGeom prst="roundRect">
            <a:avLst>
              <a:gd name="adj" fmla="val 6160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3" name="Tekstvak 62">
            <a:extLst>
              <a:ext uri="{FF2B5EF4-FFF2-40B4-BE49-F238E27FC236}">
                <a16:creationId xmlns:a16="http://schemas.microsoft.com/office/drawing/2014/main" id="{F0B589D2-D8CD-1E66-A892-12EFE0C8F140}"/>
              </a:ext>
            </a:extLst>
          </p:cNvPr>
          <p:cNvSpPr txBox="1"/>
          <p:nvPr/>
        </p:nvSpPr>
        <p:spPr>
          <a:xfrm>
            <a:off x="1017965" y="2388058"/>
            <a:ext cx="36217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40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Reduce Risk</a:t>
            </a:r>
          </a:p>
        </p:txBody>
      </p:sp>
      <p:sp>
        <p:nvSpPr>
          <p:cNvPr id="64" name="Tekstvak 63">
            <a:extLst>
              <a:ext uri="{FF2B5EF4-FFF2-40B4-BE49-F238E27FC236}">
                <a16:creationId xmlns:a16="http://schemas.microsoft.com/office/drawing/2014/main" id="{2778C0C9-88ED-E391-58E4-8C732455842C}"/>
              </a:ext>
            </a:extLst>
          </p:cNvPr>
          <p:cNvSpPr txBox="1"/>
          <p:nvPr/>
        </p:nvSpPr>
        <p:spPr>
          <a:xfrm>
            <a:off x="1017965" y="3031160"/>
            <a:ext cx="37531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56% of data breaches were preventable with timely patching.</a:t>
            </a:r>
          </a:p>
        </p:txBody>
      </p:sp>
      <p:sp>
        <p:nvSpPr>
          <p:cNvPr id="71" name="Rechthoek: afgeronde hoeken 70">
            <a:extLst>
              <a:ext uri="{FF2B5EF4-FFF2-40B4-BE49-F238E27FC236}">
                <a16:creationId xmlns:a16="http://schemas.microsoft.com/office/drawing/2014/main" id="{851CE290-03C1-1CA4-0A05-CF6473A2181D}"/>
              </a:ext>
            </a:extLst>
          </p:cNvPr>
          <p:cNvSpPr/>
          <p:nvPr/>
        </p:nvSpPr>
        <p:spPr>
          <a:xfrm>
            <a:off x="2824567" y="4445366"/>
            <a:ext cx="4017010" cy="1674459"/>
          </a:xfrm>
          <a:prstGeom prst="roundRect">
            <a:avLst>
              <a:gd name="adj" fmla="val 616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2" name="Rechthoek: afgeronde hoeken 71">
            <a:extLst>
              <a:ext uri="{FF2B5EF4-FFF2-40B4-BE49-F238E27FC236}">
                <a16:creationId xmlns:a16="http://schemas.microsoft.com/office/drawing/2014/main" id="{9453ED37-2E14-345E-F15F-B84C73924DBF}"/>
              </a:ext>
            </a:extLst>
          </p:cNvPr>
          <p:cNvSpPr/>
          <p:nvPr/>
        </p:nvSpPr>
        <p:spPr>
          <a:xfrm>
            <a:off x="2940396" y="4561343"/>
            <a:ext cx="4017010" cy="1674459"/>
          </a:xfrm>
          <a:prstGeom prst="roundRect">
            <a:avLst>
              <a:gd name="adj" fmla="val 6160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3" name="Tekstvak 72">
            <a:extLst>
              <a:ext uri="{FF2B5EF4-FFF2-40B4-BE49-F238E27FC236}">
                <a16:creationId xmlns:a16="http://schemas.microsoft.com/office/drawing/2014/main" id="{63A30F1D-4E3D-7FE7-B5F4-D3F49D02E3FD}"/>
              </a:ext>
            </a:extLst>
          </p:cNvPr>
          <p:cNvSpPr txBox="1"/>
          <p:nvPr/>
        </p:nvSpPr>
        <p:spPr>
          <a:xfrm>
            <a:off x="3065087" y="4632263"/>
            <a:ext cx="382975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40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Compliance</a:t>
            </a:r>
          </a:p>
        </p:txBody>
      </p:sp>
      <p:sp>
        <p:nvSpPr>
          <p:cNvPr id="74" name="Tekstvak 73">
            <a:extLst>
              <a:ext uri="{FF2B5EF4-FFF2-40B4-BE49-F238E27FC236}">
                <a16:creationId xmlns:a16="http://schemas.microsoft.com/office/drawing/2014/main" id="{6D2F4504-2A10-A3DD-15C1-1DB5B44A1AAA}"/>
              </a:ext>
            </a:extLst>
          </p:cNvPr>
          <p:cNvSpPr txBox="1"/>
          <p:nvPr/>
        </p:nvSpPr>
        <p:spPr>
          <a:xfrm>
            <a:off x="3065088" y="5275365"/>
            <a:ext cx="36510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Meet standards like ISO 27001, CMMC, Cyber Essentials, etc.</a:t>
            </a:r>
          </a:p>
        </p:txBody>
      </p:sp>
      <p:sp>
        <p:nvSpPr>
          <p:cNvPr id="75" name="Rechthoek: afgeronde hoeken 74">
            <a:extLst>
              <a:ext uri="{FF2B5EF4-FFF2-40B4-BE49-F238E27FC236}">
                <a16:creationId xmlns:a16="http://schemas.microsoft.com/office/drawing/2014/main" id="{5B4A5207-6EB1-C092-5804-1D4271587DB4}"/>
              </a:ext>
            </a:extLst>
          </p:cNvPr>
          <p:cNvSpPr/>
          <p:nvPr/>
        </p:nvSpPr>
        <p:spPr>
          <a:xfrm>
            <a:off x="7180104" y="4445366"/>
            <a:ext cx="4017010" cy="1674459"/>
          </a:xfrm>
          <a:prstGeom prst="roundRect">
            <a:avLst>
              <a:gd name="adj" fmla="val 616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6" name="Rechthoek: afgeronde hoeken 75">
            <a:extLst>
              <a:ext uri="{FF2B5EF4-FFF2-40B4-BE49-F238E27FC236}">
                <a16:creationId xmlns:a16="http://schemas.microsoft.com/office/drawing/2014/main" id="{C7D1A544-AB3F-C94A-5DBE-995A02C2F226}"/>
              </a:ext>
            </a:extLst>
          </p:cNvPr>
          <p:cNvSpPr/>
          <p:nvPr/>
        </p:nvSpPr>
        <p:spPr>
          <a:xfrm>
            <a:off x="7295933" y="4561343"/>
            <a:ext cx="4017010" cy="1674459"/>
          </a:xfrm>
          <a:prstGeom prst="roundRect">
            <a:avLst>
              <a:gd name="adj" fmla="val 6160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7" name="Tekstvak 76">
            <a:extLst>
              <a:ext uri="{FF2B5EF4-FFF2-40B4-BE49-F238E27FC236}">
                <a16:creationId xmlns:a16="http://schemas.microsoft.com/office/drawing/2014/main" id="{BD02F3E5-9B86-397D-278B-0085AA2ADD02}"/>
              </a:ext>
            </a:extLst>
          </p:cNvPr>
          <p:cNvSpPr txBox="1"/>
          <p:nvPr/>
        </p:nvSpPr>
        <p:spPr>
          <a:xfrm>
            <a:off x="7420624" y="4766429"/>
            <a:ext cx="478365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40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Automation</a:t>
            </a:r>
          </a:p>
        </p:txBody>
      </p:sp>
      <p:sp>
        <p:nvSpPr>
          <p:cNvPr id="78" name="Tekstvak 77">
            <a:extLst>
              <a:ext uri="{FF2B5EF4-FFF2-40B4-BE49-F238E27FC236}">
                <a16:creationId xmlns:a16="http://schemas.microsoft.com/office/drawing/2014/main" id="{DCA46B71-A519-821C-7339-2C1F7E59785E}"/>
              </a:ext>
            </a:extLst>
          </p:cNvPr>
          <p:cNvSpPr txBox="1"/>
          <p:nvPr/>
        </p:nvSpPr>
        <p:spPr>
          <a:xfrm>
            <a:off x="7420625" y="5409531"/>
            <a:ext cx="35153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IT teams are tired of manual work and unreliable tools</a:t>
            </a:r>
          </a:p>
        </p:txBody>
      </p:sp>
      <p:sp>
        <p:nvSpPr>
          <p:cNvPr id="79" name="Rechthoek: afgeronde hoeken 78">
            <a:extLst>
              <a:ext uri="{FF2B5EF4-FFF2-40B4-BE49-F238E27FC236}">
                <a16:creationId xmlns:a16="http://schemas.microsoft.com/office/drawing/2014/main" id="{B2F0CEC7-7093-000C-55BD-624C25A63E0E}"/>
              </a:ext>
            </a:extLst>
          </p:cNvPr>
          <p:cNvSpPr/>
          <p:nvPr/>
        </p:nvSpPr>
        <p:spPr>
          <a:xfrm>
            <a:off x="5105294" y="2290248"/>
            <a:ext cx="4017010" cy="1674459"/>
          </a:xfrm>
          <a:prstGeom prst="roundRect">
            <a:avLst>
              <a:gd name="adj" fmla="val 6160"/>
            </a:avLst>
          </a:prstGeom>
          <a:solidFill>
            <a:srgbClr val="003F6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0" name="Rechthoek: afgeronde hoeken 79">
            <a:extLst>
              <a:ext uri="{FF2B5EF4-FFF2-40B4-BE49-F238E27FC236}">
                <a16:creationId xmlns:a16="http://schemas.microsoft.com/office/drawing/2014/main" id="{06ED64F6-2CD6-EF8A-AEDE-0F41F04E3A57}"/>
              </a:ext>
            </a:extLst>
          </p:cNvPr>
          <p:cNvSpPr/>
          <p:nvPr/>
        </p:nvSpPr>
        <p:spPr>
          <a:xfrm>
            <a:off x="5221123" y="2406225"/>
            <a:ext cx="4017010" cy="1674459"/>
          </a:xfrm>
          <a:prstGeom prst="roundRect">
            <a:avLst>
              <a:gd name="adj" fmla="val 6160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1" name="Tekstvak 80">
            <a:extLst>
              <a:ext uri="{FF2B5EF4-FFF2-40B4-BE49-F238E27FC236}">
                <a16:creationId xmlns:a16="http://schemas.microsoft.com/office/drawing/2014/main" id="{E42D21B1-EA0D-B49B-6AEC-DFFB98DD5ABC}"/>
              </a:ext>
            </a:extLst>
          </p:cNvPr>
          <p:cNvSpPr txBox="1"/>
          <p:nvPr/>
        </p:nvSpPr>
        <p:spPr>
          <a:xfrm>
            <a:off x="5345814" y="2501206"/>
            <a:ext cx="41772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40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Visibility</a:t>
            </a:r>
          </a:p>
        </p:txBody>
      </p:sp>
      <p:sp>
        <p:nvSpPr>
          <p:cNvPr id="82" name="Tekstvak 81">
            <a:extLst>
              <a:ext uri="{FF2B5EF4-FFF2-40B4-BE49-F238E27FC236}">
                <a16:creationId xmlns:a16="http://schemas.microsoft.com/office/drawing/2014/main" id="{D8B32366-AF06-096D-5A32-CE8D3522D280}"/>
              </a:ext>
            </a:extLst>
          </p:cNvPr>
          <p:cNvSpPr txBox="1"/>
          <p:nvPr/>
        </p:nvSpPr>
        <p:spPr>
          <a:xfrm>
            <a:off x="5345815" y="3144308"/>
            <a:ext cx="34114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Teams need to know what’s patched, what’s not, and risk.</a:t>
            </a: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0E450101-6495-0485-89D7-49D598AB741F}"/>
              </a:ext>
            </a:extLst>
          </p:cNvPr>
          <p:cNvSpPr/>
          <p:nvPr/>
        </p:nvSpPr>
        <p:spPr>
          <a:xfrm>
            <a:off x="203028" y="7138921"/>
            <a:ext cx="11785945" cy="6428936"/>
          </a:xfrm>
          <a:prstGeom prst="roundRect">
            <a:avLst>
              <a:gd name="adj" fmla="val 1484"/>
            </a:avLst>
          </a:prstGeom>
          <a:solidFill>
            <a:srgbClr val="F0F0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A340061E-857B-FE93-6425-3B1291726724}"/>
              </a:ext>
            </a:extLst>
          </p:cNvPr>
          <p:cNvSpPr/>
          <p:nvPr/>
        </p:nvSpPr>
        <p:spPr>
          <a:xfrm>
            <a:off x="5064093" y="982949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211EAC1A-0668-C5A8-D620-89EB92522556}"/>
              </a:ext>
            </a:extLst>
          </p:cNvPr>
          <p:cNvSpPr/>
          <p:nvPr/>
        </p:nvSpPr>
        <p:spPr>
          <a:xfrm>
            <a:off x="1494981" y="982949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2B2901FA-DDF7-AB91-6F0E-3B4EEEEB4B4A}"/>
              </a:ext>
            </a:extLst>
          </p:cNvPr>
          <p:cNvSpPr/>
          <p:nvPr/>
        </p:nvSpPr>
        <p:spPr>
          <a:xfrm>
            <a:off x="8633204" y="982949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Rechthoek: afgeronde hoeken 5">
            <a:extLst>
              <a:ext uri="{FF2B5EF4-FFF2-40B4-BE49-F238E27FC236}">
                <a16:creationId xmlns:a16="http://schemas.microsoft.com/office/drawing/2014/main" id="{78C017CA-582D-E52C-ACA5-159115E06FF5}"/>
              </a:ext>
            </a:extLst>
          </p:cNvPr>
          <p:cNvSpPr/>
          <p:nvPr/>
        </p:nvSpPr>
        <p:spPr>
          <a:xfrm>
            <a:off x="4953271" y="972208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solidFill>
              <a:schemeClr val="tx2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19EB72CB-6728-9D9F-8549-1CAD601FFFC1}"/>
              </a:ext>
            </a:extLst>
          </p:cNvPr>
          <p:cNvSpPr/>
          <p:nvPr/>
        </p:nvSpPr>
        <p:spPr>
          <a:xfrm>
            <a:off x="1384159" y="972208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solidFill>
              <a:schemeClr val="tx2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BA14188E-CEC4-DD29-A50E-CB7A2F8653E0}"/>
              </a:ext>
            </a:extLst>
          </p:cNvPr>
          <p:cNvSpPr/>
          <p:nvPr/>
        </p:nvSpPr>
        <p:spPr>
          <a:xfrm>
            <a:off x="8522382" y="9722087"/>
            <a:ext cx="2301767" cy="2633249"/>
          </a:xfrm>
          <a:prstGeom prst="roundRect">
            <a:avLst>
              <a:gd name="adj" fmla="val 13710"/>
            </a:avLst>
          </a:prstGeom>
          <a:solidFill>
            <a:srgbClr val="F0F0F4">
              <a:alpha val="41000"/>
            </a:srgbClr>
          </a:solidFill>
          <a:ln w="6350">
            <a:solidFill>
              <a:schemeClr val="tx2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1" name="Tekstvak 90">
            <a:extLst>
              <a:ext uri="{FF2B5EF4-FFF2-40B4-BE49-F238E27FC236}">
                <a16:creationId xmlns:a16="http://schemas.microsoft.com/office/drawing/2014/main" id="{A727E1C8-6143-ACBD-A544-D53368EC022F}"/>
              </a:ext>
            </a:extLst>
          </p:cNvPr>
          <p:cNvSpPr txBox="1"/>
          <p:nvPr/>
        </p:nvSpPr>
        <p:spPr>
          <a:xfrm>
            <a:off x="1380512" y="10273657"/>
            <a:ext cx="230541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Small</a:t>
            </a:r>
            <a:br>
              <a:rPr lang="en-US" sz="32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</a:br>
            <a:r>
              <a:rPr lang="en-US" sz="20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r>
              <a:rPr lang="en-US" sz="16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business</a:t>
            </a:r>
          </a:p>
        </p:txBody>
      </p:sp>
      <p:sp>
        <p:nvSpPr>
          <p:cNvPr id="92" name="Tekstvak 91">
            <a:extLst>
              <a:ext uri="{FF2B5EF4-FFF2-40B4-BE49-F238E27FC236}">
                <a16:creationId xmlns:a16="http://schemas.microsoft.com/office/drawing/2014/main" id="{8914C6EC-EA63-CF44-A34C-14B02F500A8B}"/>
              </a:ext>
            </a:extLst>
          </p:cNvPr>
          <p:cNvSpPr txBox="1"/>
          <p:nvPr/>
        </p:nvSpPr>
        <p:spPr>
          <a:xfrm>
            <a:off x="4958640" y="10273657"/>
            <a:ext cx="230541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Midmarket</a:t>
            </a:r>
            <a:br>
              <a:rPr lang="en-US" sz="32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</a:br>
            <a:r>
              <a:rPr lang="en-US" sz="20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r>
              <a:rPr lang="en-US" sz="16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companies</a:t>
            </a:r>
          </a:p>
        </p:txBody>
      </p:sp>
      <p:sp>
        <p:nvSpPr>
          <p:cNvPr id="93" name="Tekstvak 92">
            <a:extLst>
              <a:ext uri="{FF2B5EF4-FFF2-40B4-BE49-F238E27FC236}">
                <a16:creationId xmlns:a16="http://schemas.microsoft.com/office/drawing/2014/main" id="{81D5B8B8-3D99-A513-619A-C64E1FDCBF7D}"/>
              </a:ext>
            </a:extLst>
          </p:cNvPr>
          <p:cNvSpPr txBox="1"/>
          <p:nvPr/>
        </p:nvSpPr>
        <p:spPr>
          <a:xfrm>
            <a:off x="8516743" y="10273657"/>
            <a:ext cx="230541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Large</a:t>
            </a:r>
            <a:br>
              <a:rPr lang="en-US" sz="32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</a:br>
            <a:r>
              <a:rPr lang="en-US" sz="20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 </a:t>
            </a:r>
            <a:r>
              <a:rPr lang="en-US" sz="1600" b="1">
                <a:solidFill>
                  <a:schemeClr val="tx2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enterprises</a:t>
            </a:r>
          </a:p>
        </p:txBody>
      </p:sp>
      <p:sp>
        <p:nvSpPr>
          <p:cNvPr id="94" name="Tekstvak 93">
            <a:extLst>
              <a:ext uri="{FF2B5EF4-FFF2-40B4-BE49-F238E27FC236}">
                <a16:creationId xmlns:a16="http://schemas.microsoft.com/office/drawing/2014/main" id="{59DA75ED-A892-5E34-65FC-61A7D18FD47C}"/>
              </a:ext>
            </a:extLst>
          </p:cNvPr>
          <p:cNvSpPr txBox="1"/>
          <p:nvPr/>
        </p:nvSpPr>
        <p:spPr>
          <a:xfrm>
            <a:off x="996270" y="11515193"/>
            <a:ext cx="3060000" cy="510778"/>
          </a:xfrm>
          <a:prstGeom prst="round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172 applications</a:t>
            </a:r>
          </a:p>
        </p:txBody>
      </p:sp>
      <p:sp>
        <p:nvSpPr>
          <p:cNvPr id="95" name="Tekstvak 94">
            <a:extLst>
              <a:ext uri="{FF2B5EF4-FFF2-40B4-BE49-F238E27FC236}">
                <a16:creationId xmlns:a16="http://schemas.microsoft.com/office/drawing/2014/main" id="{7F1E1066-53B5-A44A-117E-F43B1290F1E3}"/>
              </a:ext>
            </a:extLst>
          </p:cNvPr>
          <p:cNvSpPr txBox="1"/>
          <p:nvPr/>
        </p:nvSpPr>
        <p:spPr>
          <a:xfrm>
            <a:off x="4560726" y="11515193"/>
            <a:ext cx="3060000" cy="510778"/>
          </a:xfrm>
          <a:prstGeom prst="round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255 applications</a:t>
            </a:r>
          </a:p>
        </p:txBody>
      </p:sp>
      <p:sp>
        <p:nvSpPr>
          <p:cNvPr id="96" name="Tekstvak 95">
            <a:extLst>
              <a:ext uri="{FF2B5EF4-FFF2-40B4-BE49-F238E27FC236}">
                <a16:creationId xmlns:a16="http://schemas.microsoft.com/office/drawing/2014/main" id="{AF08D27F-427D-6401-6FDF-3520A17E871E}"/>
              </a:ext>
            </a:extLst>
          </p:cNvPr>
          <p:cNvSpPr txBox="1"/>
          <p:nvPr/>
        </p:nvSpPr>
        <p:spPr>
          <a:xfrm>
            <a:off x="8177441" y="11515193"/>
            <a:ext cx="3060000" cy="510778"/>
          </a:xfrm>
          <a:prstGeom prst="round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664 applications</a:t>
            </a:r>
          </a:p>
        </p:txBody>
      </p:sp>
      <p:sp>
        <p:nvSpPr>
          <p:cNvPr id="97" name="Tekstvak 96">
            <a:extLst>
              <a:ext uri="{FF2B5EF4-FFF2-40B4-BE49-F238E27FC236}">
                <a16:creationId xmlns:a16="http://schemas.microsoft.com/office/drawing/2014/main" id="{217C9073-C079-9354-C015-A7C3DCFF8282}"/>
              </a:ext>
            </a:extLst>
          </p:cNvPr>
          <p:cNvSpPr txBox="1"/>
          <p:nvPr/>
        </p:nvSpPr>
        <p:spPr>
          <a:xfrm>
            <a:off x="3750191" y="-1327422"/>
            <a:ext cx="46916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sz="2400" b="1">
                <a:solidFill>
                  <a:schemeClr val="accent1"/>
                </a:solidFill>
              </a:rPr>
              <a:t>on </a:t>
            </a:r>
            <a:r>
              <a:rPr lang="nl-BE" sz="2400" b="1" err="1">
                <a:solidFill>
                  <a:schemeClr val="accent1"/>
                </a:solidFill>
              </a:rPr>
              <a:t>average</a:t>
            </a:r>
            <a:r>
              <a:rPr lang="nl-BE" sz="2400" b="1">
                <a:solidFill>
                  <a:schemeClr val="accent1"/>
                </a:solidFill>
              </a:rPr>
              <a:t>, companies </a:t>
            </a:r>
            <a:r>
              <a:rPr lang="nl-BE" sz="2400" b="1" err="1">
                <a:solidFill>
                  <a:schemeClr val="accent1"/>
                </a:solidFill>
              </a:rPr>
              <a:t>use</a:t>
            </a:r>
            <a:r>
              <a:rPr lang="nl-BE" sz="2400" b="1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98" name="Tekstvak 97">
            <a:extLst>
              <a:ext uri="{FF2B5EF4-FFF2-40B4-BE49-F238E27FC236}">
                <a16:creationId xmlns:a16="http://schemas.microsoft.com/office/drawing/2014/main" id="{6DEB436D-A540-6C3E-C9EC-E7AB48F345B9}"/>
              </a:ext>
            </a:extLst>
          </p:cNvPr>
          <p:cNvSpPr txBox="1"/>
          <p:nvPr/>
        </p:nvSpPr>
        <p:spPr>
          <a:xfrm>
            <a:off x="3434759" y="-1967360"/>
            <a:ext cx="53224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To manage their operations, streamline processes and achieve their business goals </a:t>
            </a:r>
            <a:endParaRPr lang="nl-BE">
              <a:solidFill>
                <a:schemeClr val="tx2"/>
              </a:solidFill>
            </a:endParaRPr>
          </a:p>
        </p:txBody>
      </p:sp>
      <p:cxnSp>
        <p:nvCxnSpPr>
          <p:cNvPr id="99" name="Rechte verbindingslijn 98">
            <a:extLst>
              <a:ext uri="{FF2B5EF4-FFF2-40B4-BE49-F238E27FC236}">
                <a16:creationId xmlns:a16="http://schemas.microsoft.com/office/drawing/2014/main" id="{636AB703-627D-F073-8A62-2A496CB5337F}"/>
              </a:ext>
            </a:extLst>
          </p:cNvPr>
          <p:cNvCxnSpPr>
            <a:cxnSpLocks/>
          </p:cNvCxnSpPr>
          <p:nvPr/>
        </p:nvCxnSpPr>
        <p:spPr>
          <a:xfrm>
            <a:off x="5878514" y="-601291"/>
            <a:ext cx="434970" cy="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38059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repeatCount="2000" autoRev="1" fill="hold" grpId="1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300" fill="hold"/>
                                            <p:tgtEl>
                                              <p:spTgt spid="60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17" presetID="2" presetClass="entr" presetSubtype="8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23" dur="20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2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2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fill="hold" grpId="1" nodeType="withEffect" p14:presetBounceEnd="99000">
                                      <p:stCondLst>
                                        <p:cond delay="3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29" dur="1000" fill="hold"/>
                                            <p:tgtEl>
                                              <p:spTgt spid="6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31" dur="250" fill="hold"/>
                                            <p:tgtEl>
                                              <p:spTgt spid="6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25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3 L 2.08333E-7 -7.40741E-7 " pathEditMode="relative" rAng="0" ptsTypes="AA">
                                          <p:cBhvr>
                                            <p:cTn id="3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8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0" dur="7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1" dur="7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2" presetID="19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43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4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45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46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7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49" dur="20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2" dur="2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2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6" presetClass="emph" presetSubtype="0" fill="hold" grpId="1" nodeType="withEffect" p14:presetBounceEnd="99000">
                                      <p:stCondLst>
                                        <p:cond delay="3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5" dur="1000" fill="hold"/>
                                            <p:tgtEl>
                                              <p:spTgt spid="7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6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57" dur="250" fill="hold"/>
                                            <p:tgtEl>
                                              <p:spTgt spid="7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25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4 L -1.875E-6 4.44444E-6 " pathEditMode="relative" rAng="0" ptsTypes="AA">
                                          <p:cBhvr>
                                            <p:cTn id="62" dur="50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6100"/>
                                </p:stCondLst>
                                <p:childTnLst>
                                  <p:par>
                                    <p:cTn id="64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7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7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70" dur="2000"/>
                                            <p:tgtEl>
                                              <p:spTgt spid="8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9" presetClass="emph" presetSubtype="0" fill="hold" grpId="1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72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73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74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75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6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2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fill="hold" grpId="1" nodeType="withEffect" p14:presetBounceEnd="99000">
                                      <p:stCondLst>
                                        <p:cond delay="3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81" dur="1000" fill="hold"/>
                                            <p:tgtEl>
                                              <p:spTgt spid="8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250" fill="hold"/>
                                            <p:tgtEl>
                                              <p:spTgt spid="8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25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3 L 4.79167E-6 2.59259E-6 " pathEditMode="relative" rAng="0" ptsTypes="AA">
                                          <p:cBhvr>
                                            <p:cTn id="88" dur="5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8200"/>
                                </p:stCondLst>
                                <p:childTnLst>
                                  <p:par>
                                    <p:cTn id="90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700" fill="hold"/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700" fill="hold"/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19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95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96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97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98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9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101" dur="20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20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20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6" presetClass="emph" presetSubtype="0" fill="hold" grpId="1" nodeType="withEffect" p14:presetBounceEnd="99000">
                                      <p:stCondLst>
                                        <p:cond delay="3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07" dur="1000" fill="hold"/>
                                            <p:tgtEl>
                                              <p:spTgt spid="77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8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109" dur="250" fill="hold"/>
                                            <p:tgtEl>
                                              <p:spTgt spid="77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0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25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3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8 -0.00023 L -4.375E-6 -1.48148E-6 " pathEditMode="relative" rAng="0" ptsTypes="AA">
                                          <p:cBhvr>
                                            <p:cTn id="114" dur="5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8" grpId="0"/>
          <p:bldP spid="60" grpId="0"/>
          <p:bldP spid="60" grpId="1"/>
          <p:bldP spid="61" grpId="0" animBg="1"/>
          <p:bldP spid="61" grpId="1" animBg="1"/>
          <p:bldP spid="62" grpId="0" animBg="1"/>
          <p:bldP spid="63" grpId="0"/>
          <p:bldP spid="63" grpId="1"/>
          <p:bldP spid="63" grpId="2"/>
          <p:bldP spid="64" grpId="0"/>
          <p:bldP spid="64" grpId="1"/>
          <p:bldP spid="71" grpId="0" animBg="1"/>
          <p:bldP spid="71" grpId="1" animBg="1"/>
          <p:bldP spid="72" grpId="0" animBg="1"/>
          <p:bldP spid="73" grpId="0"/>
          <p:bldP spid="73" grpId="1"/>
          <p:bldP spid="73" grpId="2"/>
          <p:bldP spid="74" grpId="0"/>
          <p:bldP spid="74" grpId="1"/>
          <p:bldP spid="75" grpId="0" animBg="1"/>
          <p:bldP spid="76" grpId="0" animBg="1"/>
          <p:bldP spid="77" grpId="0"/>
          <p:bldP spid="77" grpId="1"/>
          <p:bldP spid="77" grpId="2"/>
          <p:bldP spid="78" grpId="0"/>
          <p:bldP spid="78" grpId="1"/>
          <p:bldP spid="79" grpId="0" animBg="1"/>
          <p:bldP spid="79" grpId="1" animBg="1"/>
          <p:bldP spid="80" grpId="0" animBg="1"/>
          <p:bldP spid="81" grpId="0"/>
          <p:bldP spid="81" grpId="1"/>
          <p:bldP spid="81" grpId="2"/>
          <p:bldP spid="82" grpId="0"/>
          <p:bldP spid="82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1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repeatCount="2000" autoRev="1" fill="hold" grpId="1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300" fill="hold"/>
                                            <p:tgtEl>
                                              <p:spTgt spid="60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17" presetID="2" presetClass="entr" presetSubtype="8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23" dur="20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2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2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1000" fill="hold"/>
                                            <p:tgtEl>
                                              <p:spTgt spid="6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31" dur="250" fill="hold"/>
                                            <p:tgtEl>
                                              <p:spTgt spid="6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25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3 L 2.08333E-7 -7.40741E-7 " pathEditMode="relative" rAng="0" ptsTypes="AA">
                                          <p:cBhvr>
                                            <p:cTn id="3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8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0" dur="7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1" dur="7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2" presetID="19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43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4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45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46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7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49" dur="20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2" dur="2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2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6" presetClass="emph" presetSubtype="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55" dur="1000" fill="hold"/>
                                            <p:tgtEl>
                                              <p:spTgt spid="7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6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57" dur="250" fill="hold"/>
                                            <p:tgtEl>
                                              <p:spTgt spid="7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25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4 L -1.875E-6 4.44444E-6 " pathEditMode="relative" rAng="0" ptsTypes="AA">
                                          <p:cBhvr>
                                            <p:cTn id="62" dur="500" fill="hold"/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6100"/>
                                </p:stCondLst>
                                <p:childTnLst>
                                  <p:par>
                                    <p:cTn id="64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7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7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70" dur="2000"/>
                                            <p:tgtEl>
                                              <p:spTgt spid="8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9" presetClass="emph" presetSubtype="0" fill="hold" grpId="1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72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73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74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75" dur="500" fill="hold"/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6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2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81" dur="1000" fill="hold"/>
                                            <p:tgtEl>
                                              <p:spTgt spid="8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250" fill="hold"/>
                                            <p:tgtEl>
                                              <p:spTgt spid="8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25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9 -0.00023 L 4.79167E-6 2.59259E-6 " pathEditMode="relative" rAng="0" ptsTypes="AA">
                                          <p:cBhvr>
                                            <p:cTn id="88" dur="5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8200"/>
                                </p:stCondLst>
                                <p:childTnLst>
                                  <p:par>
                                    <p:cTn id="90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700" fill="hold"/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700" fill="hold"/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19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Clr clrSpc="rgb" dir="cw">
                                          <p:cBhvr override="childStyle">
                                            <p:cTn id="95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animClr clrSpc="rgb" dir="cw">
                                          <p:cBhvr>
                                            <p:cTn id="96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color</p:attrName>
                                            </p:attrNameLst>
                                          </p:cBhvr>
                                          <p:to>
                                            <a:srgbClr val="1BBC9B"/>
                                          </p:to>
                                        </p:animClr>
                                        <p:set>
                                          <p:cBhvr>
                                            <p:cTn id="97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.type</p:attrName>
                                            </p:attrNameLst>
                                          </p:cBhvr>
                                          <p:to>
                                            <p:strVal val="solid"/>
                                          </p:to>
                                        </p:set>
                                        <p:set>
                                          <p:cBhvr>
                                            <p:cTn id="98" dur="5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fill.on</p:attrName>
                                            </p:attrNameLst>
                                          </p:cBhvr>
                                          <p:to>
                                            <p:strVal val="tru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9" presetID="6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in)">
                                          <p:cBhvr>
                                            <p:cTn id="101" dur="20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2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20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20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6" presetClass="emph" presetSubtype="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107" dur="1000" fill="hold"/>
                                            <p:tgtEl>
                                              <p:spTgt spid="77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8" presetID="6" presetClass="emph" presetSubtype="0" accel="50000" decel="50000" fill="hold" grpId="2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Scale>
                                          <p:cBhvr>
                                            <p:cTn id="109" dur="250" fill="hold"/>
                                            <p:tgtEl>
                                              <p:spTgt spid="77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0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25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3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-0.01718 -0.00023 L -4.375E-6 -1.48148E-6 " pathEditMode="relative" rAng="0" ptsTypes="AA">
                                          <p:cBhvr>
                                            <p:cTn id="114" dur="500" fill="hold"/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8" grpId="0"/>
          <p:bldP spid="60" grpId="0"/>
          <p:bldP spid="60" grpId="1"/>
          <p:bldP spid="61" grpId="0" animBg="1"/>
          <p:bldP spid="61" grpId="1" animBg="1"/>
          <p:bldP spid="62" grpId="0" animBg="1"/>
          <p:bldP spid="63" grpId="0"/>
          <p:bldP spid="63" grpId="1"/>
          <p:bldP spid="63" grpId="2"/>
          <p:bldP spid="64" grpId="0"/>
          <p:bldP spid="64" grpId="1"/>
          <p:bldP spid="71" grpId="0" animBg="1"/>
          <p:bldP spid="71" grpId="1" animBg="1"/>
          <p:bldP spid="72" grpId="0" animBg="1"/>
          <p:bldP spid="73" grpId="0"/>
          <p:bldP spid="73" grpId="1"/>
          <p:bldP spid="73" grpId="2"/>
          <p:bldP spid="74" grpId="0"/>
          <p:bldP spid="74" grpId="1"/>
          <p:bldP spid="75" grpId="0" animBg="1"/>
          <p:bldP spid="76" grpId="0" animBg="1"/>
          <p:bldP spid="77" grpId="0"/>
          <p:bldP spid="77" grpId="1"/>
          <p:bldP spid="77" grpId="2"/>
          <p:bldP spid="78" grpId="0"/>
          <p:bldP spid="78" grpId="1"/>
          <p:bldP spid="79" grpId="0" animBg="1"/>
          <p:bldP spid="79" grpId="1" animBg="1"/>
          <p:bldP spid="80" grpId="0" animBg="1"/>
          <p:bldP spid="81" grpId="0"/>
          <p:bldP spid="81" grpId="1"/>
          <p:bldP spid="81" grpId="2"/>
          <p:bldP spid="82" grpId="0"/>
          <p:bldP spid="82" grpId="1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4629C5-4A19-1C13-4655-F4E5BFA0A2A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600" t="1063" r="11600" b="1063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id="{83980F59-399A-68B2-9F80-4AE9B1AB3137}"/>
              </a:ext>
            </a:extLst>
          </p:cNvPr>
          <p:cNvSpPr/>
          <p:nvPr/>
        </p:nvSpPr>
        <p:spPr>
          <a:xfrm>
            <a:off x="803973" y="1733532"/>
            <a:ext cx="2664941" cy="2083945"/>
          </a:xfrm>
          <a:prstGeom prst="roundRect">
            <a:avLst>
              <a:gd name="adj" fmla="val 4990"/>
            </a:avLst>
          </a:prstGeom>
          <a:solidFill>
            <a:srgbClr val="13293F">
              <a:alpha val="17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0602C80B-00D6-4670-2303-3096853CE4DE}"/>
              </a:ext>
            </a:extLst>
          </p:cNvPr>
          <p:cNvGrpSpPr/>
          <p:nvPr/>
        </p:nvGrpSpPr>
        <p:grpSpPr>
          <a:xfrm>
            <a:off x="803973" y="677119"/>
            <a:ext cx="5146885" cy="702427"/>
            <a:chOff x="1477915" y="2805474"/>
            <a:chExt cx="2545896" cy="702427"/>
          </a:xfrm>
        </p:grpSpPr>
        <p:sp>
          <p:nvSpPr>
            <p:cNvPr id="4" name="Rechthoek: afgeronde hoeken 3">
              <a:extLst>
                <a:ext uri="{FF2B5EF4-FFF2-40B4-BE49-F238E27FC236}">
                  <a16:creationId xmlns:a16="http://schemas.microsoft.com/office/drawing/2014/main" id="{19FC2BFA-99B2-8A3D-23BE-B37D8080F26B}"/>
                </a:ext>
              </a:extLst>
            </p:cNvPr>
            <p:cNvSpPr/>
            <p:nvPr/>
          </p:nvSpPr>
          <p:spPr>
            <a:xfrm>
              <a:off x="1477915" y="2805474"/>
              <a:ext cx="2545896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5" name="Tekstvak 4">
              <a:extLst>
                <a:ext uri="{FF2B5EF4-FFF2-40B4-BE49-F238E27FC236}">
                  <a16:creationId xmlns:a16="http://schemas.microsoft.com/office/drawing/2014/main" id="{FF856484-9CD3-4027-D516-16984597C464}"/>
                </a:ext>
              </a:extLst>
            </p:cNvPr>
            <p:cNvSpPr txBox="1"/>
            <p:nvPr/>
          </p:nvSpPr>
          <p:spPr>
            <a:xfrm>
              <a:off x="1558947" y="2828297"/>
              <a:ext cx="239599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600">
                  <a:solidFill>
                    <a:schemeClr val="bg1"/>
                  </a:solidFill>
                </a:rPr>
                <a:t>Equifax data breach</a:t>
              </a:r>
            </a:p>
          </p:txBody>
        </p:sp>
      </p:grpSp>
      <p:sp>
        <p:nvSpPr>
          <p:cNvPr id="18" name="Tekstvak 17">
            <a:extLst>
              <a:ext uri="{FF2B5EF4-FFF2-40B4-BE49-F238E27FC236}">
                <a16:creationId xmlns:a16="http://schemas.microsoft.com/office/drawing/2014/main" id="{C6D8BA33-B66F-F980-6D75-716BD77299D3}"/>
              </a:ext>
            </a:extLst>
          </p:cNvPr>
          <p:cNvSpPr txBox="1"/>
          <p:nvPr/>
        </p:nvSpPr>
        <p:spPr>
          <a:xfrm>
            <a:off x="1071054" y="2454796"/>
            <a:ext cx="23294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148 million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96926425-8180-477D-F5C6-A261D24EDF1B}"/>
              </a:ext>
            </a:extLst>
          </p:cNvPr>
          <p:cNvSpPr txBox="1"/>
          <p:nvPr/>
        </p:nvSpPr>
        <p:spPr>
          <a:xfrm>
            <a:off x="803973" y="2984389"/>
            <a:ext cx="259654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>
                <a:solidFill>
                  <a:schemeClr val="bg1"/>
                </a:solidFill>
              </a:rPr>
              <a:t>people’s personal </a:t>
            </a:r>
            <a:br>
              <a:rPr lang="en-US" sz="2000">
                <a:solidFill>
                  <a:schemeClr val="bg1"/>
                </a:solidFill>
              </a:rPr>
            </a:br>
            <a:r>
              <a:rPr lang="en-US" sz="2000">
                <a:solidFill>
                  <a:schemeClr val="bg1"/>
                </a:solidFill>
              </a:rPr>
              <a:t>data exposed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D6055170-8A11-C247-811D-41A96178FCAC}"/>
              </a:ext>
            </a:extLst>
          </p:cNvPr>
          <p:cNvSpPr txBox="1"/>
          <p:nvPr/>
        </p:nvSpPr>
        <p:spPr>
          <a:xfrm>
            <a:off x="7110224" y="2529377"/>
            <a:ext cx="6181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2</a:t>
            </a:r>
            <a:endParaRPr kumimoji="0" lang="nl-BE" sz="4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grpSp>
        <p:nvGrpSpPr>
          <p:cNvPr id="59" name="Groep 58">
            <a:extLst>
              <a:ext uri="{FF2B5EF4-FFF2-40B4-BE49-F238E27FC236}">
                <a16:creationId xmlns:a16="http://schemas.microsoft.com/office/drawing/2014/main" id="{26BC2212-2251-4FD2-476B-CFC3B8A64062}"/>
              </a:ext>
            </a:extLst>
          </p:cNvPr>
          <p:cNvGrpSpPr/>
          <p:nvPr/>
        </p:nvGrpSpPr>
        <p:grpSpPr>
          <a:xfrm>
            <a:off x="8466577" y="2660143"/>
            <a:ext cx="2814637" cy="470775"/>
            <a:chOff x="8466577" y="2660143"/>
            <a:chExt cx="2814637" cy="470775"/>
          </a:xfrm>
        </p:grpSpPr>
        <p:sp>
          <p:nvSpPr>
            <p:cNvPr id="20" name="Rechthoek: afgeronde hoeken 19">
              <a:extLst>
                <a:ext uri="{FF2B5EF4-FFF2-40B4-BE49-F238E27FC236}">
                  <a16:creationId xmlns:a16="http://schemas.microsoft.com/office/drawing/2014/main" id="{68A468FF-E291-D117-5203-88DDC07588F9}"/>
                </a:ext>
              </a:extLst>
            </p:cNvPr>
            <p:cNvSpPr/>
            <p:nvPr/>
          </p:nvSpPr>
          <p:spPr>
            <a:xfrm>
              <a:off x="8466577" y="2660143"/>
              <a:ext cx="2814637" cy="470775"/>
            </a:xfrm>
            <a:prstGeom prst="roundRect">
              <a:avLst>
                <a:gd name="adj" fmla="val 15647"/>
              </a:avLst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98A885FC-BED5-BD36-54B8-7BBE1627ADD9}"/>
                </a:ext>
              </a:extLst>
            </p:cNvPr>
            <p:cNvSpPr txBox="1"/>
            <p:nvPr/>
          </p:nvSpPr>
          <p:spPr>
            <a:xfrm>
              <a:off x="8542777" y="2679167"/>
              <a:ext cx="2738437" cy="451751"/>
            </a:xfrm>
            <a:prstGeom prst="rect">
              <a:avLst/>
            </a:prstGeom>
            <a:noFill/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nl-BE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sz="1400">
                  <a:solidFill>
                    <a:schemeClr val="tx2"/>
                  </a:solidFill>
                </a:rPr>
                <a:t>Exploitation of Vulnerability</a:t>
              </a:r>
            </a:p>
          </p:txBody>
        </p:sp>
      </p:grpSp>
      <p:grpSp>
        <p:nvGrpSpPr>
          <p:cNvPr id="41" name="Groep 40">
            <a:extLst>
              <a:ext uri="{FF2B5EF4-FFF2-40B4-BE49-F238E27FC236}">
                <a16:creationId xmlns:a16="http://schemas.microsoft.com/office/drawing/2014/main" id="{B86ECC84-2877-9D25-8059-E228203FC6CE}"/>
              </a:ext>
            </a:extLst>
          </p:cNvPr>
          <p:cNvGrpSpPr/>
          <p:nvPr/>
        </p:nvGrpSpPr>
        <p:grpSpPr>
          <a:xfrm>
            <a:off x="7840299" y="2660143"/>
            <a:ext cx="470263" cy="470775"/>
            <a:chOff x="7984322" y="2973606"/>
            <a:chExt cx="470263" cy="470775"/>
          </a:xfrm>
        </p:grpSpPr>
        <p:sp>
          <p:nvSpPr>
            <p:cNvPr id="23" name="Rechthoek: afgeronde hoeken 22">
              <a:extLst>
                <a:ext uri="{FF2B5EF4-FFF2-40B4-BE49-F238E27FC236}">
                  <a16:creationId xmlns:a16="http://schemas.microsoft.com/office/drawing/2014/main" id="{5C963C5B-5000-95E6-7A4C-0E8F4BF2D200}"/>
                </a:ext>
              </a:extLst>
            </p:cNvPr>
            <p:cNvSpPr/>
            <p:nvPr/>
          </p:nvSpPr>
          <p:spPr>
            <a:xfrm>
              <a:off x="7984322" y="2973606"/>
              <a:ext cx="470263" cy="470775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72DEFDAF-9E16-2A55-BAA6-38D3E781D6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058265" y="3053707"/>
              <a:ext cx="310570" cy="310570"/>
            </a:xfrm>
            <a:prstGeom prst="rect">
              <a:avLst/>
            </a:prstGeom>
          </p:spPr>
        </p:pic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8804A588-B276-3D47-DA78-D9D362D83886}"/>
              </a:ext>
            </a:extLst>
          </p:cNvPr>
          <p:cNvSpPr txBox="1"/>
          <p:nvPr/>
        </p:nvSpPr>
        <p:spPr>
          <a:xfrm>
            <a:off x="7110224" y="3442764"/>
            <a:ext cx="6181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3</a:t>
            </a:r>
            <a:endParaRPr kumimoji="0" lang="nl-BE" sz="4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grpSp>
        <p:nvGrpSpPr>
          <p:cNvPr id="60" name="Groep 59">
            <a:extLst>
              <a:ext uri="{FF2B5EF4-FFF2-40B4-BE49-F238E27FC236}">
                <a16:creationId xmlns:a16="http://schemas.microsoft.com/office/drawing/2014/main" id="{39FB167F-A841-14FE-00E6-1B2493B34281}"/>
              </a:ext>
            </a:extLst>
          </p:cNvPr>
          <p:cNvGrpSpPr/>
          <p:nvPr/>
        </p:nvGrpSpPr>
        <p:grpSpPr>
          <a:xfrm>
            <a:off x="8466577" y="3574958"/>
            <a:ext cx="2814637" cy="470775"/>
            <a:chOff x="8466577" y="3574958"/>
            <a:chExt cx="2814637" cy="470775"/>
          </a:xfrm>
        </p:grpSpPr>
        <p:sp>
          <p:nvSpPr>
            <p:cNvPr id="25" name="Rechthoek: afgeronde hoeken 24">
              <a:extLst>
                <a:ext uri="{FF2B5EF4-FFF2-40B4-BE49-F238E27FC236}">
                  <a16:creationId xmlns:a16="http://schemas.microsoft.com/office/drawing/2014/main" id="{2D5F7990-7783-DEFD-47B4-542B1B67366A}"/>
                </a:ext>
              </a:extLst>
            </p:cNvPr>
            <p:cNvSpPr/>
            <p:nvPr/>
          </p:nvSpPr>
          <p:spPr>
            <a:xfrm>
              <a:off x="8466577" y="3574958"/>
              <a:ext cx="2814637" cy="470775"/>
            </a:xfrm>
            <a:prstGeom prst="roundRect">
              <a:avLst>
                <a:gd name="adj" fmla="val 15647"/>
              </a:avLst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27" name="Tekstvak 26">
              <a:extLst>
                <a:ext uri="{FF2B5EF4-FFF2-40B4-BE49-F238E27FC236}">
                  <a16:creationId xmlns:a16="http://schemas.microsoft.com/office/drawing/2014/main" id="{E6E44391-00A1-BA85-EF11-383A6B996A5D}"/>
                </a:ext>
              </a:extLst>
            </p:cNvPr>
            <p:cNvSpPr txBox="1"/>
            <p:nvPr/>
          </p:nvSpPr>
          <p:spPr>
            <a:xfrm>
              <a:off x="8542777" y="3593982"/>
              <a:ext cx="2738437" cy="451751"/>
            </a:xfrm>
            <a:prstGeom prst="rect">
              <a:avLst/>
            </a:prstGeom>
            <a:noFill/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nl-BE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sz="1400">
                  <a:solidFill>
                    <a:schemeClr val="tx2"/>
                  </a:solidFill>
                </a:rPr>
                <a:t>Installation of Malware</a:t>
              </a:r>
            </a:p>
          </p:txBody>
        </p:sp>
      </p:grpSp>
      <p:grpSp>
        <p:nvGrpSpPr>
          <p:cNvPr id="42" name="Groep 41">
            <a:extLst>
              <a:ext uri="{FF2B5EF4-FFF2-40B4-BE49-F238E27FC236}">
                <a16:creationId xmlns:a16="http://schemas.microsoft.com/office/drawing/2014/main" id="{70B08914-CAAA-B8F7-D831-3F02C5278B0D}"/>
              </a:ext>
            </a:extLst>
          </p:cNvPr>
          <p:cNvGrpSpPr/>
          <p:nvPr/>
        </p:nvGrpSpPr>
        <p:grpSpPr>
          <a:xfrm>
            <a:off x="7840299" y="3574958"/>
            <a:ext cx="470263" cy="470775"/>
            <a:chOff x="7984322" y="3770939"/>
            <a:chExt cx="470263" cy="470775"/>
          </a:xfrm>
        </p:grpSpPr>
        <p:sp>
          <p:nvSpPr>
            <p:cNvPr id="28" name="Rechthoek: afgeronde hoeken 27">
              <a:extLst>
                <a:ext uri="{FF2B5EF4-FFF2-40B4-BE49-F238E27FC236}">
                  <a16:creationId xmlns:a16="http://schemas.microsoft.com/office/drawing/2014/main" id="{A7A10CA6-BDB1-587E-BBFF-4CE137C9C722}"/>
                </a:ext>
              </a:extLst>
            </p:cNvPr>
            <p:cNvSpPr/>
            <p:nvPr/>
          </p:nvSpPr>
          <p:spPr>
            <a:xfrm>
              <a:off x="7984322" y="3770939"/>
              <a:ext cx="470263" cy="470775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740C7EAA-4A15-4382-D91A-290640FED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8058265" y="3844829"/>
              <a:ext cx="310570" cy="322992"/>
            </a:xfrm>
            <a:prstGeom prst="rect">
              <a:avLst/>
            </a:prstGeom>
          </p:spPr>
        </p:pic>
      </p:grpSp>
      <p:sp>
        <p:nvSpPr>
          <p:cNvPr id="31" name="Tekstvak 30">
            <a:extLst>
              <a:ext uri="{FF2B5EF4-FFF2-40B4-BE49-F238E27FC236}">
                <a16:creationId xmlns:a16="http://schemas.microsoft.com/office/drawing/2014/main" id="{4520E3EB-C6D5-20AA-B3EB-7AFB9755FC63}"/>
              </a:ext>
            </a:extLst>
          </p:cNvPr>
          <p:cNvSpPr txBox="1"/>
          <p:nvPr/>
        </p:nvSpPr>
        <p:spPr>
          <a:xfrm>
            <a:off x="7110224" y="4349008"/>
            <a:ext cx="6181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4</a:t>
            </a:r>
            <a:endParaRPr kumimoji="0" lang="nl-BE" sz="4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grpSp>
        <p:nvGrpSpPr>
          <p:cNvPr id="61" name="Groep 60">
            <a:extLst>
              <a:ext uri="{FF2B5EF4-FFF2-40B4-BE49-F238E27FC236}">
                <a16:creationId xmlns:a16="http://schemas.microsoft.com/office/drawing/2014/main" id="{CBC3AED5-314C-B785-307F-3F46AAD5DDC7}"/>
              </a:ext>
            </a:extLst>
          </p:cNvPr>
          <p:cNvGrpSpPr/>
          <p:nvPr/>
        </p:nvGrpSpPr>
        <p:grpSpPr>
          <a:xfrm>
            <a:off x="8466577" y="4489773"/>
            <a:ext cx="2814637" cy="470775"/>
            <a:chOff x="8466577" y="4489773"/>
            <a:chExt cx="2814637" cy="470775"/>
          </a:xfrm>
        </p:grpSpPr>
        <p:sp>
          <p:nvSpPr>
            <p:cNvPr id="30" name="Rechthoek: afgeronde hoeken 29">
              <a:extLst>
                <a:ext uri="{FF2B5EF4-FFF2-40B4-BE49-F238E27FC236}">
                  <a16:creationId xmlns:a16="http://schemas.microsoft.com/office/drawing/2014/main" id="{9EB85096-1ABB-DCBC-5580-3D458FA97DA0}"/>
                </a:ext>
              </a:extLst>
            </p:cNvPr>
            <p:cNvSpPr/>
            <p:nvPr/>
          </p:nvSpPr>
          <p:spPr>
            <a:xfrm>
              <a:off x="8466577" y="4489773"/>
              <a:ext cx="2814637" cy="470775"/>
            </a:xfrm>
            <a:prstGeom prst="roundRect">
              <a:avLst>
                <a:gd name="adj" fmla="val 15647"/>
              </a:avLst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2" name="Tekstvak 31">
              <a:extLst>
                <a:ext uri="{FF2B5EF4-FFF2-40B4-BE49-F238E27FC236}">
                  <a16:creationId xmlns:a16="http://schemas.microsoft.com/office/drawing/2014/main" id="{63E6E6FD-2B63-9E52-0BAB-BF233AB5645B}"/>
                </a:ext>
              </a:extLst>
            </p:cNvPr>
            <p:cNvSpPr txBox="1"/>
            <p:nvPr/>
          </p:nvSpPr>
          <p:spPr>
            <a:xfrm>
              <a:off x="8542777" y="4508797"/>
              <a:ext cx="2738437" cy="451751"/>
            </a:xfrm>
            <a:prstGeom prst="rect">
              <a:avLst/>
            </a:prstGeom>
            <a:noFill/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nl-BE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sz="1400">
                  <a:solidFill>
                    <a:schemeClr val="tx2"/>
                  </a:solidFill>
                </a:rPr>
                <a:t>Exfiltration of Data</a:t>
              </a:r>
            </a:p>
          </p:txBody>
        </p:sp>
      </p:grpSp>
      <p:grpSp>
        <p:nvGrpSpPr>
          <p:cNvPr id="43" name="Groep 42">
            <a:extLst>
              <a:ext uri="{FF2B5EF4-FFF2-40B4-BE49-F238E27FC236}">
                <a16:creationId xmlns:a16="http://schemas.microsoft.com/office/drawing/2014/main" id="{A58584A4-5B27-E8F1-13C0-AFF8045A14DA}"/>
              </a:ext>
            </a:extLst>
          </p:cNvPr>
          <p:cNvGrpSpPr/>
          <p:nvPr/>
        </p:nvGrpSpPr>
        <p:grpSpPr>
          <a:xfrm>
            <a:off x="7840299" y="4489773"/>
            <a:ext cx="470263" cy="470775"/>
            <a:chOff x="7984322" y="4582912"/>
            <a:chExt cx="470263" cy="470775"/>
          </a:xfrm>
        </p:grpSpPr>
        <p:sp>
          <p:nvSpPr>
            <p:cNvPr id="33" name="Rechthoek: afgeronde hoeken 32">
              <a:extLst>
                <a:ext uri="{FF2B5EF4-FFF2-40B4-BE49-F238E27FC236}">
                  <a16:creationId xmlns:a16="http://schemas.microsoft.com/office/drawing/2014/main" id="{ED26243A-3738-8BF4-06B0-7C3773A343A0}"/>
                </a:ext>
              </a:extLst>
            </p:cNvPr>
            <p:cNvSpPr/>
            <p:nvPr/>
          </p:nvSpPr>
          <p:spPr>
            <a:xfrm>
              <a:off x="7984322" y="4582912"/>
              <a:ext cx="470263" cy="470775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F66D302-CA5B-E0E2-B93B-14749184F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8058265" y="4677944"/>
              <a:ext cx="310570" cy="280707"/>
            </a:xfrm>
            <a:prstGeom prst="rect">
              <a:avLst/>
            </a:prstGeom>
          </p:spPr>
        </p:pic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FB38EB06-0752-C0F5-77C1-39EAC0A8E5EA}"/>
              </a:ext>
            </a:extLst>
          </p:cNvPr>
          <p:cNvSpPr txBox="1"/>
          <p:nvPr/>
        </p:nvSpPr>
        <p:spPr>
          <a:xfrm>
            <a:off x="7110224" y="5255252"/>
            <a:ext cx="6181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5</a:t>
            </a:r>
            <a:endParaRPr kumimoji="0" lang="nl-BE" sz="4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grpSp>
        <p:nvGrpSpPr>
          <p:cNvPr id="62" name="Groep 61">
            <a:extLst>
              <a:ext uri="{FF2B5EF4-FFF2-40B4-BE49-F238E27FC236}">
                <a16:creationId xmlns:a16="http://schemas.microsoft.com/office/drawing/2014/main" id="{12AD5F53-7D45-7A21-125F-DEF2843FCB75}"/>
              </a:ext>
            </a:extLst>
          </p:cNvPr>
          <p:cNvGrpSpPr/>
          <p:nvPr/>
        </p:nvGrpSpPr>
        <p:grpSpPr>
          <a:xfrm>
            <a:off x="8466577" y="5404586"/>
            <a:ext cx="2814637" cy="470775"/>
            <a:chOff x="8466577" y="5404586"/>
            <a:chExt cx="2814637" cy="470775"/>
          </a:xfrm>
        </p:grpSpPr>
        <p:sp>
          <p:nvSpPr>
            <p:cNvPr id="35" name="Rechthoek: afgeronde hoeken 34">
              <a:extLst>
                <a:ext uri="{FF2B5EF4-FFF2-40B4-BE49-F238E27FC236}">
                  <a16:creationId xmlns:a16="http://schemas.microsoft.com/office/drawing/2014/main" id="{5CB3A2B7-6275-E295-90E9-2ED8CAE938EA}"/>
                </a:ext>
              </a:extLst>
            </p:cNvPr>
            <p:cNvSpPr/>
            <p:nvPr/>
          </p:nvSpPr>
          <p:spPr>
            <a:xfrm>
              <a:off x="8466577" y="5404586"/>
              <a:ext cx="2814637" cy="470775"/>
            </a:xfrm>
            <a:prstGeom prst="roundRect">
              <a:avLst>
                <a:gd name="adj" fmla="val 15647"/>
              </a:avLst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7" name="Tekstvak 36">
              <a:extLst>
                <a:ext uri="{FF2B5EF4-FFF2-40B4-BE49-F238E27FC236}">
                  <a16:creationId xmlns:a16="http://schemas.microsoft.com/office/drawing/2014/main" id="{352578EF-BE1E-76FB-6989-192A56923806}"/>
                </a:ext>
              </a:extLst>
            </p:cNvPr>
            <p:cNvSpPr txBox="1"/>
            <p:nvPr/>
          </p:nvSpPr>
          <p:spPr>
            <a:xfrm>
              <a:off x="8542777" y="5423610"/>
              <a:ext cx="2738437" cy="451751"/>
            </a:xfrm>
            <a:prstGeom prst="rect">
              <a:avLst/>
            </a:prstGeom>
            <a:noFill/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nl-BE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sz="1400">
                  <a:solidFill>
                    <a:schemeClr val="tx2"/>
                  </a:solidFill>
                </a:rPr>
                <a:t>Covering Tracks</a:t>
              </a:r>
            </a:p>
          </p:txBody>
        </p:sp>
      </p:grpSp>
      <p:grpSp>
        <p:nvGrpSpPr>
          <p:cNvPr id="44" name="Groep 43">
            <a:extLst>
              <a:ext uri="{FF2B5EF4-FFF2-40B4-BE49-F238E27FC236}">
                <a16:creationId xmlns:a16="http://schemas.microsoft.com/office/drawing/2014/main" id="{E91FC0F9-7AB7-14A1-5951-9BF3EAA31855}"/>
              </a:ext>
            </a:extLst>
          </p:cNvPr>
          <p:cNvGrpSpPr/>
          <p:nvPr/>
        </p:nvGrpSpPr>
        <p:grpSpPr>
          <a:xfrm>
            <a:off x="7840299" y="5404586"/>
            <a:ext cx="470263" cy="470775"/>
            <a:chOff x="7984322" y="5442171"/>
            <a:chExt cx="470263" cy="470775"/>
          </a:xfrm>
        </p:grpSpPr>
        <p:sp>
          <p:nvSpPr>
            <p:cNvPr id="38" name="Rechthoek: afgeronde hoeken 37">
              <a:extLst>
                <a:ext uri="{FF2B5EF4-FFF2-40B4-BE49-F238E27FC236}">
                  <a16:creationId xmlns:a16="http://schemas.microsoft.com/office/drawing/2014/main" id="{70C95669-276A-A910-3E94-CE3C5ED722E8}"/>
                </a:ext>
              </a:extLst>
            </p:cNvPr>
            <p:cNvSpPr/>
            <p:nvPr/>
          </p:nvSpPr>
          <p:spPr>
            <a:xfrm>
              <a:off x="7984322" y="5442171"/>
              <a:ext cx="470263" cy="470775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1654A35A-827B-7F81-7A77-8DCE93385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8058265" y="5531406"/>
              <a:ext cx="310570" cy="292301"/>
            </a:xfrm>
            <a:prstGeom prst="rect">
              <a:avLst/>
            </a:prstGeom>
          </p:spPr>
        </p:pic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555EB7D7-0F04-1631-DDAB-D919FF3E18AD}"/>
              </a:ext>
            </a:extLst>
          </p:cNvPr>
          <p:cNvSpPr txBox="1"/>
          <p:nvPr/>
        </p:nvSpPr>
        <p:spPr>
          <a:xfrm>
            <a:off x="7110224" y="1595994"/>
            <a:ext cx="6181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4800" b="1">
                <a:solidFill>
                  <a:schemeClr val="bg1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</a:rPr>
              <a:t>1</a:t>
            </a:r>
            <a:endParaRPr kumimoji="0" lang="nl-BE" sz="4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</a:endParaRPr>
          </a:p>
        </p:txBody>
      </p:sp>
      <p:grpSp>
        <p:nvGrpSpPr>
          <p:cNvPr id="58" name="Groep 57">
            <a:extLst>
              <a:ext uri="{FF2B5EF4-FFF2-40B4-BE49-F238E27FC236}">
                <a16:creationId xmlns:a16="http://schemas.microsoft.com/office/drawing/2014/main" id="{F7C6B7F5-B64F-B4FC-668E-47B6B1D20EA6}"/>
              </a:ext>
            </a:extLst>
          </p:cNvPr>
          <p:cNvGrpSpPr/>
          <p:nvPr/>
        </p:nvGrpSpPr>
        <p:grpSpPr>
          <a:xfrm>
            <a:off x="8466577" y="1745328"/>
            <a:ext cx="2814637" cy="470775"/>
            <a:chOff x="8466577" y="1745328"/>
            <a:chExt cx="2814637" cy="470775"/>
          </a:xfrm>
        </p:grpSpPr>
        <p:sp>
          <p:nvSpPr>
            <p:cNvPr id="47" name="Rechthoek: afgeronde hoeken 46">
              <a:extLst>
                <a:ext uri="{FF2B5EF4-FFF2-40B4-BE49-F238E27FC236}">
                  <a16:creationId xmlns:a16="http://schemas.microsoft.com/office/drawing/2014/main" id="{1C91DB27-91C1-4AF4-35F0-D5AC91666F02}"/>
                </a:ext>
              </a:extLst>
            </p:cNvPr>
            <p:cNvSpPr/>
            <p:nvPr/>
          </p:nvSpPr>
          <p:spPr>
            <a:xfrm>
              <a:off x="8466577" y="1745328"/>
              <a:ext cx="2814637" cy="470775"/>
            </a:xfrm>
            <a:prstGeom prst="roundRect">
              <a:avLst>
                <a:gd name="adj" fmla="val 15647"/>
              </a:avLst>
            </a:prstGeom>
            <a:solidFill>
              <a:srgbClr val="F0F0F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49" name="Tekstvak 48">
              <a:extLst>
                <a:ext uri="{FF2B5EF4-FFF2-40B4-BE49-F238E27FC236}">
                  <a16:creationId xmlns:a16="http://schemas.microsoft.com/office/drawing/2014/main" id="{F4E02B73-1163-DCE1-0CF9-38197A5CE1B7}"/>
                </a:ext>
              </a:extLst>
            </p:cNvPr>
            <p:cNvSpPr txBox="1"/>
            <p:nvPr/>
          </p:nvSpPr>
          <p:spPr>
            <a:xfrm>
              <a:off x="8542777" y="1764352"/>
              <a:ext cx="2738437" cy="451751"/>
            </a:xfrm>
            <a:prstGeom prst="rect">
              <a:avLst/>
            </a:prstGeom>
            <a:noFill/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nl-BE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sz="1400">
                  <a:solidFill>
                    <a:schemeClr val="tx2"/>
                  </a:solidFill>
                </a:rPr>
                <a:t>Identification of Vulnerability</a:t>
              </a:r>
            </a:p>
          </p:txBody>
        </p:sp>
      </p:grp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225CE7B-FBE0-B7B5-4174-66283A7F0276}"/>
              </a:ext>
            </a:extLst>
          </p:cNvPr>
          <p:cNvGrpSpPr/>
          <p:nvPr/>
        </p:nvGrpSpPr>
        <p:grpSpPr>
          <a:xfrm>
            <a:off x="7840299" y="1745328"/>
            <a:ext cx="470263" cy="470775"/>
            <a:chOff x="7984322" y="2183525"/>
            <a:chExt cx="470263" cy="470775"/>
          </a:xfrm>
        </p:grpSpPr>
        <p:sp>
          <p:nvSpPr>
            <p:cNvPr id="51" name="Rechthoek: afgeronde hoeken 50">
              <a:extLst>
                <a:ext uri="{FF2B5EF4-FFF2-40B4-BE49-F238E27FC236}">
                  <a16:creationId xmlns:a16="http://schemas.microsoft.com/office/drawing/2014/main" id="{B08D3135-053C-43CF-660C-9A7A0A2D5195}"/>
                </a:ext>
              </a:extLst>
            </p:cNvPr>
            <p:cNvSpPr/>
            <p:nvPr/>
          </p:nvSpPr>
          <p:spPr>
            <a:xfrm>
              <a:off x="7984322" y="2183525"/>
              <a:ext cx="470263" cy="470775"/>
            </a:xfrm>
            <a:prstGeom prst="roundRect">
              <a:avLst>
                <a:gd name="adj" fmla="val 6403"/>
              </a:avLst>
            </a:prstGeom>
            <a:solidFill>
              <a:schemeClr val="bg1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2800" b="1">
                <a:solidFill>
                  <a:schemeClr val="bg1"/>
                </a:solidFill>
              </a:endParaRP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783BAE16-87BB-2D7F-9F3F-D5A88A8F4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058265" y="2242451"/>
              <a:ext cx="310570" cy="352920"/>
            </a:xfrm>
            <a:prstGeom prst="rect">
              <a:avLst/>
            </a:prstGeom>
          </p:spPr>
        </p:pic>
      </p:grpSp>
      <p:sp>
        <p:nvSpPr>
          <p:cNvPr id="55" name="Rechthoek: afgeronde hoeken 54">
            <a:extLst>
              <a:ext uri="{FF2B5EF4-FFF2-40B4-BE49-F238E27FC236}">
                <a16:creationId xmlns:a16="http://schemas.microsoft.com/office/drawing/2014/main" id="{28111E72-4106-A4AE-97E2-DD87EBE7DD4F}"/>
              </a:ext>
            </a:extLst>
          </p:cNvPr>
          <p:cNvSpPr/>
          <p:nvPr/>
        </p:nvSpPr>
        <p:spPr>
          <a:xfrm>
            <a:off x="1139186" y="4240151"/>
            <a:ext cx="2329728" cy="1645604"/>
          </a:xfrm>
          <a:prstGeom prst="roundRect">
            <a:avLst>
              <a:gd name="adj" fmla="val 499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0" name="Picture 2" descr="undefined">
            <a:extLst>
              <a:ext uri="{FF2B5EF4-FFF2-40B4-BE49-F238E27FC236}">
                <a16:creationId xmlns:a16="http://schemas.microsoft.com/office/drawing/2014/main" id="{494EAAA7-1019-B21F-6305-044BD2C956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8420" y="4853959"/>
            <a:ext cx="2051260" cy="40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hthoek: afgeronde hoeken 55">
            <a:extLst>
              <a:ext uri="{FF2B5EF4-FFF2-40B4-BE49-F238E27FC236}">
                <a16:creationId xmlns:a16="http://schemas.microsoft.com/office/drawing/2014/main" id="{77ECECF9-DA94-6934-6704-A3F7DC180F9F}"/>
              </a:ext>
            </a:extLst>
          </p:cNvPr>
          <p:cNvSpPr/>
          <p:nvPr/>
        </p:nvSpPr>
        <p:spPr>
          <a:xfrm>
            <a:off x="3638221" y="2844991"/>
            <a:ext cx="2312637" cy="2164076"/>
          </a:xfrm>
          <a:prstGeom prst="roundRect">
            <a:avLst>
              <a:gd name="adj" fmla="val 4990"/>
            </a:avLst>
          </a:prstGeom>
          <a:solidFill>
            <a:srgbClr val="13293F">
              <a:alpha val="17000"/>
            </a:srgbClr>
          </a:solidFill>
          <a:ln w="6350">
            <a:solidFill>
              <a:schemeClr val="bg1"/>
            </a:soli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7" name="Tekstvak 56">
            <a:extLst>
              <a:ext uri="{FF2B5EF4-FFF2-40B4-BE49-F238E27FC236}">
                <a16:creationId xmlns:a16="http://schemas.microsoft.com/office/drawing/2014/main" id="{9D496D47-E887-07FE-9CE5-E1DF117B5550}"/>
              </a:ext>
            </a:extLst>
          </p:cNvPr>
          <p:cNvSpPr txBox="1"/>
          <p:nvPr/>
        </p:nvSpPr>
        <p:spPr>
          <a:xfrm>
            <a:off x="3710547" y="2997066"/>
            <a:ext cx="226191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Hackers exploited</a:t>
            </a:r>
          </a:p>
          <a:p>
            <a:r>
              <a:rPr lang="en-US" sz="2000" b="1">
                <a:solidFill>
                  <a:schemeClr val="bg1"/>
                </a:solidFill>
              </a:rPr>
              <a:t>unpatched software vulnerabilities</a:t>
            </a:r>
          </a:p>
        </p:txBody>
      </p:sp>
      <p:sp>
        <p:nvSpPr>
          <p:cNvPr id="63" name="Rechthoek: afgeronde hoeken 62">
            <a:extLst>
              <a:ext uri="{FF2B5EF4-FFF2-40B4-BE49-F238E27FC236}">
                <a16:creationId xmlns:a16="http://schemas.microsoft.com/office/drawing/2014/main" id="{B4F3E803-7307-2CEE-619D-17F6F75A8493}"/>
              </a:ext>
            </a:extLst>
          </p:cNvPr>
          <p:cNvSpPr/>
          <p:nvPr/>
        </p:nvSpPr>
        <p:spPr>
          <a:xfrm>
            <a:off x="196948" y="7770100"/>
            <a:ext cx="11810070" cy="5599426"/>
          </a:xfrm>
          <a:prstGeom prst="roundRect">
            <a:avLst>
              <a:gd name="adj" fmla="val 1484"/>
            </a:avLst>
          </a:prstGeom>
          <a:solidFill>
            <a:srgbClr val="F0F0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4" name="Rechthoek: afgeronde hoeken 63">
            <a:extLst>
              <a:ext uri="{FF2B5EF4-FFF2-40B4-BE49-F238E27FC236}">
                <a16:creationId xmlns:a16="http://schemas.microsoft.com/office/drawing/2014/main" id="{4D3FCDEE-99CB-19FF-0691-7C6499BAB3DA}"/>
              </a:ext>
            </a:extLst>
          </p:cNvPr>
          <p:cNvSpPr/>
          <p:nvPr/>
        </p:nvSpPr>
        <p:spPr>
          <a:xfrm>
            <a:off x="196948" y="7770100"/>
            <a:ext cx="11810070" cy="5599426"/>
          </a:xfrm>
          <a:prstGeom prst="roundRect">
            <a:avLst>
              <a:gd name="adj" fmla="val 1484"/>
            </a:avLst>
          </a:prstGeom>
          <a:blipFill dpi="0" rotWithShape="1">
            <a:blip r:embed="rId17">
              <a:grayscl/>
              <a:alphaModFix amt="11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4833" b="-5777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5" name="Rechthoek: afgeronde hoeken 64">
            <a:extLst>
              <a:ext uri="{FF2B5EF4-FFF2-40B4-BE49-F238E27FC236}">
                <a16:creationId xmlns:a16="http://schemas.microsoft.com/office/drawing/2014/main" id="{36C92245-AAA9-F383-9F47-153394C0A288}"/>
              </a:ext>
            </a:extLst>
          </p:cNvPr>
          <p:cNvSpPr/>
          <p:nvPr/>
        </p:nvSpPr>
        <p:spPr>
          <a:xfrm>
            <a:off x="196948" y="7770100"/>
            <a:ext cx="11810070" cy="5599426"/>
          </a:xfrm>
          <a:prstGeom prst="roundRect">
            <a:avLst>
              <a:gd name="adj" fmla="val 1484"/>
            </a:avLst>
          </a:prstGeom>
          <a:gradFill>
            <a:gsLst>
              <a:gs pos="0">
                <a:srgbClr val="F0F0F4"/>
              </a:gs>
              <a:gs pos="92000">
                <a:srgbClr val="F0F0F4">
                  <a:alpha val="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66" name="Groep 65">
            <a:extLst>
              <a:ext uri="{FF2B5EF4-FFF2-40B4-BE49-F238E27FC236}">
                <a16:creationId xmlns:a16="http://schemas.microsoft.com/office/drawing/2014/main" id="{23E90049-798B-2633-5DB0-30CD7FA344C3}"/>
              </a:ext>
            </a:extLst>
          </p:cNvPr>
          <p:cNvGrpSpPr/>
          <p:nvPr/>
        </p:nvGrpSpPr>
        <p:grpSpPr>
          <a:xfrm>
            <a:off x="4113229" y="7410814"/>
            <a:ext cx="3946689" cy="702427"/>
            <a:chOff x="1477915" y="2805474"/>
            <a:chExt cx="2545896" cy="702427"/>
          </a:xfrm>
        </p:grpSpPr>
        <p:sp>
          <p:nvSpPr>
            <p:cNvPr id="67" name="Rechthoek: afgeronde hoeken 66">
              <a:extLst>
                <a:ext uri="{FF2B5EF4-FFF2-40B4-BE49-F238E27FC236}">
                  <a16:creationId xmlns:a16="http://schemas.microsoft.com/office/drawing/2014/main" id="{44A75900-20E9-4A15-874B-4C6B23DBC585}"/>
                </a:ext>
              </a:extLst>
            </p:cNvPr>
            <p:cNvSpPr/>
            <p:nvPr/>
          </p:nvSpPr>
          <p:spPr>
            <a:xfrm>
              <a:off x="1477915" y="2805474"/>
              <a:ext cx="2545896" cy="702427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68" name="Tekstvak 67">
              <a:extLst>
                <a:ext uri="{FF2B5EF4-FFF2-40B4-BE49-F238E27FC236}">
                  <a16:creationId xmlns:a16="http://schemas.microsoft.com/office/drawing/2014/main" id="{2FEA4BF6-6A41-37E6-77DC-28712FCB9CFA}"/>
                </a:ext>
              </a:extLst>
            </p:cNvPr>
            <p:cNvSpPr txBox="1"/>
            <p:nvPr/>
          </p:nvSpPr>
          <p:spPr>
            <a:xfrm>
              <a:off x="1558947" y="2828297"/>
              <a:ext cx="239599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600">
                  <a:solidFill>
                    <a:schemeClr val="bg1"/>
                  </a:solidFill>
                </a:rPr>
                <a:t>Why patching?</a:t>
              </a:r>
            </a:p>
          </p:txBody>
        </p:sp>
      </p:grpSp>
      <p:sp>
        <p:nvSpPr>
          <p:cNvPr id="69" name="Rechthoek: afgeronde hoeken 68">
            <a:extLst>
              <a:ext uri="{FF2B5EF4-FFF2-40B4-BE49-F238E27FC236}">
                <a16:creationId xmlns:a16="http://schemas.microsoft.com/office/drawing/2014/main" id="{D70705D6-D800-900B-DA1B-474F285F6564}"/>
              </a:ext>
            </a:extLst>
          </p:cNvPr>
          <p:cNvSpPr/>
          <p:nvPr/>
        </p:nvSpPr>
        <p:spPr>
          <a:xfrm>
            <a:off x="1194619" y="9221738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70" name="Tekstvak 69">
            <a:extLst>
              <a:ext uri="{FF2B5EF4-FFF2-40B4-BE49-F238E27FC236}">
                <a16:creationId xmlns:a16="http://schemas.microsoft.com/office/drawing/2014/main" id="{26B99025-BB5E-20C1-5945-950CD1F90181}"/>
              </a:ext>
            </a:extLst>
          </p:cNvPr>
          <p:cNvSpPr txBox="1"/>
          <p:nvPr/>
        </p:nvSpPr>
        <p:spPr>
          <a:xfrm>
            <a:off x="1619048" y="10603232"/>
            <a:ext cx="1602000" cy="451751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Vulnerabilities</a:t>
            </a:r>
          </a:p>
        </p:txBody>
      </p:sp>
      <p:sp>
        <p:nvSpPr>
          <p:cNvPr id="71" name="Rechthoek: afgeronde hoeken 70">
            <a:extLst>
              <a:ext uri="{FF2B5EF4-FFF2-40B4-BE49-F238E27FC236}">
                <a16:creationId xmlns:a16="http://schemas.microsoft.com/office/drawing/2014/main" id="{E1A8A1F2-046A-DF8D-03EF-A7FB52E8C41B}"/>
              </a:ext>
            </a:extLst>
          </p:cNvPr>
          <p:cNvSpPr/>
          <p:nvPr/>
        </p:nvSpPr>
        <p:spPr>
          <a:xfrm>
            <a:off x="1714297" y="10510929"/>
            <a:ext cx="1602000" cy="638013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2" name="Rechthoek: afgeronde hoeken 71">
            <a:extLst>
              <a:ext uri="{FF2B5EF4-FFF2-40B4-BE49-F238E27FC236}">
                <a16:creationId xmlns:a16="http://schemas.microsoft.com/office/drawing/2014/main" id="{2E82957B-BA36-E895-098A-CDE9C29B8D4C}"/>
              </a:ext>
            </a:extLst>
          </p:cNvPr>
          <p:cNvSpPr/>
          <p:nvPr/>
        </p:nvSpPr>
        <p:spPr>
          <a:xfrm>
            <a:off x="6099639" y="8895813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73" name="Tekstvak 72">
            <a:extLst>
              <a:ext uri="{FF2B5EF4-FFF2-40B4-BE49-F238E27FC236}">
                <a16:creationId xmlns:a16="http://schemas.microsoft.com/office/drawing/2014/main" id="{F779E37A-6527-F607-A5E6-4C960912940D}"/>
              </a:ext>
            </a:extLst>
          </p:cNvPr>
          <p:cNvSpPr txBox="1"/>
          <p:nvPr/>
        </p:nvSpPr>
        <p:spPr>
          <a:xfrm>
            <a:off x="6524068" y="10277307"/>
            <a:ext cx="1602000" cy="638013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Malware / ransomware</a:t>
            </a:r>
          </a:p>
        </p:txBody>
      </p:sp>
      <p:sp>
        <p:nvSpPr>
          <p:cNvPr id="74" name="Rechthoek: afgeronde hoeken 73">
            <a:extLst>
              <a:ext uri="{FF2B5EF4-FFF2-40B4-BE49-F238E27FC236}">
                <a16:creationId xmlns:a16="http://schemas.microsoft.com/office/drawing/2014/main" id="{AB21FA62-D63A-5D39-FC7F-BB976FAA7E8B}"/>
              </a:ext>
            </a:extLst>
          </p:cNvPr>
          <p:cNvSpPr/>
          <p:nvPr/>
        </p:nvSpPr>
        <p:spPr>
          <a:xfrm>
            <a:off x="6619317" y="10185004"/>
            <a:ext cx="1602000" cy="831425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5" name="Rechthoek: afgeronde hoeken 74">
            <a:extLst>
              <a:ext uri="{FF2B5EF4-FFF2-40B4-BE49-F238E27FC236}">
                <a16:creationId xmlns:a16="http://schemas.microsoft.com/office/drawing/2014/main" id="{FB1B5506-C785-C12E-82AC-5AF5CC03FC37}"/>
              </a:ext>
            </a:extLst>
          </p:cNvPr>
          <p:cNvSpPr/>
          <p:nvPr/>
        </p:nvSpPr>
        <p:spPr>
          <a:xfrm>
            <a:off x="3820209" y="10469717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76" name="Tekstvak 75">
            <a:extLst>
              <a:ext uri="{FF2B5EF4-FFF2-40B4-BE49-F238E27FC236}">
                <a16:creationId xmlns:a16="http://schemas.microsoft.com/office/drawing/2014/main" id="{1079761B-9154-CA4B-B7AA-8F7C3BC9E2BA}"/>
              </a:ext>
            </a:extLst>
          </p:cNvPr>
          <p:cNvSpPr txBox="1"/>
          <p:nvPr/>
        </p:nvSpPr>
        <p:spPr>
          <a:xfrm>
            <a:off x="4416714" y="11851211"/>
            <a:ext cx="1429923" cy="646986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Exploits by hackers</a:t>
            </a:r>
          </a:p>
        </p:txBody>
      </p:sp>
      <p:sp>
        <p:nvSpPr>
          <p:cNvPr id="77" name="Rechthoek: afgeronde hoeken 76">
            <a:extLst>
              <a:ext uri="{FF2B5EF4-FFF2-40B4-BE49-F238E27FC236}">
                <a16:creationId xmlns:a16="http://schemas.microsoft.com/office/drawing/2014/main" id="{FB574E3E-6B1B-9A03-3AA8-903EBC220DAB}"/>
              </a:ext>
            </a:extLst>
          </p:cNvPr>
          <p:cNvSpPr/>
          <p:nvPr/>
        </p:nvSpPr>
        <p:spPr>
          <a:xfrm>
            <a:off x="4339887" y="11948941"/>
            <a:ext cx="1602000" cy="638013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8" name="Rechthoek: afgeronde hoeken 77">
            <a:extLst>
              <a:ext uri="{FF2B5EF4-FFF2-40B4-BE49-F238E27FC236}">
                <a16:creationId xmlns:a16="http://schemas.microsoft.com/office/drawing/2014/main" id="{E80C45BB-F6EE-F209-8B43-B0BDCB365AFA}"/>
              </a:ext>
            </a:extLst>
          </p:cNvPr>
          <p:cNvSpPr/>
          <p:nvPr/>
        </p:nvSpPr>
        <p:spPr>
          <a:xfrm>
            <a:off x="8725229" y="10253983"/>
            <a:ext cx="1600258" cy="160200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sp>
        <p:nvSpPr>
          <p:cNvPr id="79" name="Tekstvak 78">
            <a:extLst>
              <a:ext uri="{FF2B5EF4-FFF2-40B4-BE49-F238E27FC236}">
                <a16:creationId xmlns:a16="http://schemas.microsoft.com/office/drawing/2014/main" id="{72396A79-EAE5-BBBF-DBE9-284969FAD4C4}"/>
              </a:ext>
            </a:extLst>
          </p:cNvPr>
          <p:cNvSpPr txBox="1"/>
          <p:nvPr/>
        </p:nvSpPr>
        <p:spPr>
          <a:xfrm>
            <a:off x="9321734" y="11733207"/>
            <a:ext cx="1429923" cy="451526"/>
          </a:xfrm>
          <a:prstGeom prst="roundRect">
            <a:avLst/>
          </a:prstGeom>
          <a:solidFill>
            <a:srgbClr val="151520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nl-BE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/>
              <a:t>Data breach</a:t>
            </a:r>
          </a:p>
        </p:txBody>
      </p:sp>
      <p:sp>
        <p:nvSpPr>
          <p:cNvPr id="80" name="Rechthoek: afgeronde hoeken 79">
            <a:extLst>
              <a:ext uri="{FF2B5EF4-FFF2-40B4-BE49-F238E27FC236}">
                <a16:creationId xmlns:a16="http://schemas.microsoft.com/office/drawing/2014/main" id="{CBB31F8A-21A3-CC46-3D7E-8673DFD5391D}"/>
              </a:ext>
            </a:extLst>
          </p:cNvPr>
          <p:cNvSpPr/>
          <p:nvPr/>
        </p:nvSpPr>
        <p:spPr>
          <a:xfrm>
            <a:off x="9244907" y="11733208"/>
            <a:ext cx="1602000" cy="549256"/>
          </a:xfrm>
          <a:prstGeom prst="roundRect">
            <a:avLst>
              <a:gd name="adj" fmla="val 20004"/>
            </a:avLst>
          </a:prstGeom>
          <a:solidFill>
            <a:schemeClr val="bg1">
              <a:alpha val="0"/>
            </a:schemeClr>
          </a:solidFill>
          <a:ln w="15875">
            <a:gradFill>
              <a:gsLst>
                <a:gs pos="0">
                  <a:schemeClr val="bg2"/>
                </a:gs>
                <a:gs pos="12000">
                  <a:schemeClr val="bg2">
                    <a:alpha val="0"/>
                  </a:schemeClr>
                </a:gs>
              </a:gsLst>
              <a:lin ang="13200000" scaled="0"/>
            </a:gradFill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81" name="Graphic 80">
            <a:extLst>
              <a:ext uri="{FF2B5EF4-FFF2-40B4-BE49-F238E27FC236}">
                <a16:creationId xmlns:a16="http://schemas.microsoft.com/office/drawing/2014/main" id="{F2897842-AE92-344E-0A52-0ADFE090E74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601406" y="9526902"/>
            <a:ext cx="786683" cy="893958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2EAD3F45-D4DD-B45C-999A-5D8571113F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68156" y="10743303"/>
            <a:ext cx="893958" cy="893958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AD770E7E-5625-FA17-589C-FA25597627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88905" y="9190005"/>
            <a:ext cx="859575" cy="893958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4348C42E-B126-23A4-05CB-5651062703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29088" y="10607656"/>
            <a:ext cx="989830" cy="8946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E18998A-E39B-FF35-399E-8887D9692F2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102734" y="5091940"/>
            <a:ext cx="2438611" cy="16460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39408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autoRev="1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00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400"/>
                                </p:stCondLst>
                                <p:childTnLst>
                                  <p:par>
                                    <p:cTn id="13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8" dur="100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0" dur="25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42" presetClass="path" presetSubtype="0" decel="10000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0.01667 -0.00046 L -3.33333E-6 -4.81481E-6 " pathEditMode="relative" rAng="0" ptsTypes="AA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0.01666 -0.00047 L 4.16667E-6 4.44444E-6 " pathEditMode="relative" rAng="0" ptsTypes="AA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2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2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fill="hold" grpId="1" nodeType="withEffect" p14:presetBounceEnd="99000">
                                      <p:stCondLst>
                                        <p:cond delay="10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36" dur="1000" fill="hold"/>
                                            <p:tgtEl>
                                              <p:spTgt spid="55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accel="50000" decel="5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38" dur="250" fill="hold"/>
                                            <p:tgtEl>
                                              <p:spTgt spid="55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6" presetClass="emph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Scale>
                                          <p:cBhvr>
                                            <p:cTn id="43" dur="1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4" presetID="6" presetClass="emph" presetSubtype="0" decel="10000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Scale>
                                          <p:cBhvr>
                                            <p:cTn id="45" dur="75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6" presetID="23" presetClass="entr" presetSubtype="16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grpId="1" nodeType="withEffect" p14:presetBounceEnd="99000">
                                      <p:stCondLst>
                                        <p:cond delay="19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1" dur="1000" fill="hold"/>
                                            <p:tgtEl>
                                              <p:spTgt spid="56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accel="50000" decel="50000" fill="hold" grpId="2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250" fill="hold"/>
                                            <p:tgtEl>
                                              <p:spTgt spid="56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5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42" presetClass="path" presetSubtype="0" decel="100000" fill="hold" grpId="1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animMotion origin="layout" path="M 0.01666 -0.00047 L 4.79167E-6 3.7037E-6 " pathEditMode="relative" rAng="0" ptsTypes="AA">
                                          <p:cBhvr>
                                            <p:cTn id="58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9" fill="hold">
                          <p:stCondLst>
                            <p:cond delay="indefinite"/>
                          </p:stCondLst>
                          <p:childTnLst>
                            <p:par>
                              <p:cTn id="6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1" presetID="2" presetClass="entr" presetSubtype="2" decel="10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3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4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69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25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74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900"/>
                                </p:stCondLst>
                                <p:childTnLst>
                                  <p:par>
                                    <p:cTn id="7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9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2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84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25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89" dur="50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0" fill="hold">
                          <p:stCondLst>
                            <p:cond delay="indefinite"/>
                          </p:stCondLst>
                          <p:childTnLst>
                            <p:par>
                              <p:cTn id="9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2" presetID="2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5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2" dur="2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04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25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09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0" fill="hold">
                                <p:stCondLst>
                                  <p:cond delay="1400"/>
                                </p:stCondLst>
                                <p:childTnLst>
                                  <p:par>
                                    <p:cTn id="111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7" dur="25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8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19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2" dur="25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3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2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5" fill="hold">
                                <p:stCondLst>
                                  <p:cond delay="2300"/>
                                </p:stCondLst>
                                <p:childTnLst>
                                  <p:par>
                                    <p:cTn id="12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8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2" dur="2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34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7" dur="25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39" dur="5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P spid="15" grpId="1" animBg="1"/>
          <p:bldP spid="15" grpId="2" animBg="1"/>
          <p:bldP spid="18" grpId="0"/>
          <p:bldP spid="18" grpId="1"/>
          <p:bldP spid="19" grpId="0"/>
          <p:bldP spid="19" grpId="1"/>
          <p:bldP spid="21" grpId="0"/>
          <p:bldP spid="26" grpId="0"/>
          <p:bldP spid="31" grpId="0"/>
          <p:bldP spid="36" grpId="0"/>
          <p:bldP spid="48" grpId="0"/>
          <p:bldP spid="55" grpId="0" animBg="1"/>
          <p:bldP spid="55" grpId="1" animBg="1"/>
          <p:bldP spid="55" grpId="2" animBg="1"/>
          <p:bldP spid="56" grpId="0" animBg="1"/>
          <p:bldP spid="56" grpId="1" animBg="1"/>
          <p:bldP spid="56" grpId="2" animBg="1"/>
          <p:bldP spid="57" grpId="0"/>
          <p:bldP spid="57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autoRev="1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00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  <p:by x="107000" y="107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400"/>
                                </p:stCondLst>
                                <p:childTnLst>
                                  <p:par>
                                    <p:cTn id="13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8" dur="100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0" dur="25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42" presetClass="path" presetSubtype="0" decel="10000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0.01667 -0.00046 L -3.33333E-6 -4.81481E-6 " pathEditMode="relative" rAng="0" ptsTypes="AA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42" presetClass="path" presetSubtype="0" decel="10000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0.01666 -0.00047 L 4.16667E-6 4.44444E-6 " pathEditMode="relative" rAng="0" ptsTypes="AA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2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2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5" presetID="6" presetClass="emph" presetSubtype="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36" dur="1000" fill="hold"/>
                                            <p:tgtEl>
                                              <p:spTgt spid="55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accel="50000" decel="50000" fill="hold" grpId="2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38" dur="250" fill="hold"/>
                                            <p:tgtEl>
                                              <p:spTgt spid="55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6" presetClass="emph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Scale>
                                          <p:cBhvr>
                                            <p:cTn id="43" dur="1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4" presetID="6" presetClass="emph" presetSubtype="0" decel="10000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Scale>
                                          <p:cBhvr>
                                            <p:cTn id="45" dur="75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80000" y="8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6" presetID="23" presetClass="entr" presetSubtype="16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6" presetClass="emph" presetSubtype="0" fill="hold" grpId="1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animScale>
                                          <p:cBhvr>
                                            <p:cTn id="51" dur="1000" fill="hold"/>
                                            <p:tgtEl>
                                              <p:spTgt spid="56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2" presetID="6" presetClass="emph" presetSubtype="0" accel="50000" decel="50000" fill="hold" grpId="2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animScale>
                                          <p:cBhvr>
                                            <p:cTn id="53" dur="250" fill="hold"/>
                                            <p:tgtEl>
                                              <p:spTgt spid="56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5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42" presetClass="path" presetSubtype="0" decel="100000" fill="hold" grpId="1" nodeType="withEffect">
                                      <p:stCondLst>
                                        <p:cond delay="2100"/>
                                      </p:stCondLst>
                                      <p:childTnLst>
                                        <p:animMotion origin="layout" path="M 0.01666 -0.00047 L 4.79167E-6 3.7037E-6 " pathEditMode="relative" rAng="0" ptsTypes="AA">
                                          <p:cBhvr>
                                            <p:cTn id="58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833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9" fill="hold">
                          <p:stCondLst>
                            <p:cond delay="indefinite"/>
                          </p:stCondLst>
                          <p:childTnLst>
                            <p:par>
                              <p:cTn id="6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1" presetID="2" presetClass="entr" presetSubtype="2" decel="10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3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4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69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25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74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900"/>
                                </p:stCondLst>
                                <p:childTnLst>
                                  <p:par>
                                    <p:cTn id="7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9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2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84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25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89" dur="50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0" fill="hold">
                          <p:stCondLst>
                            <p:cond delay="indefinite"/>
                          </p:stCondLst>
                          <p:childTnLst>
                            <p:par>
                              <p:cTn id="9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2" presetID="2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5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2" dur="2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04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25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09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0" fill="hold">
                                <p:stCondLst>
                                  <p:cond delay="1400"/>
                                </p:stCondLst>
                                <p:childTnLst>
                                  <p:par>
                                    <p:cTn id="111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7" dur="25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8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19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2" dur="25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3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2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5" fill="hold">
                                <p:stCondLst>
                                  <p:cond delay="2300"/>
                                </p:stCondLst>
                                <p:childTnLst>
                                  <p:par>
                                    <p:cTn id="126" presetID="2" presetClass="entr" presetSubtype="2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8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0" presetID="10" presetClass="entr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2" dur="2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3" presetID="42" presetClass="path" presetSubtype="0" decel="10000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34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5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7" dur="25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8" presetID="42" presetClass="path" presetSubtype="0" decel="10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0.01719 -0.00023 L -1.25E-6 1.85185E-6 " pathEditMode="relative" rAng="0" ptsTypes="AA">
                                          <p:cBhvr>
                                            <p:cTn id="139" dur="5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9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P spid="15" grpId="1" animBg="1"/>
          <p:bldP spid="15" grpId="2" animBg="1"/>
          <p:bldP spid="18" grpId="0"/>
          <p:bldP spid="18" grpId="1"/>
          <p:bldP spid="19" grpId="0"/>
          <p:bldP spid="19" grpId="1"/>
          <p:bldP spid="21" grpId="0"/>
          <p:bldP spid="26" grpId="0"/>
          <p:bldP spid="31" grpId="0"/>
          <p:bldP spid="36" grpId="0"/>
          <p:bldP spid="48" grpId="0"/>
          <p:bldP spid="55" grpId="0" animBg="1"/>
          <p:bldP spid="55" grpId="1" animBg="1"/>
          <p:bldP spid="55" grpId="2" animBg="1"/>
          <p:bldP spid="56" grpId="0" animBg="1"/>
          <p:bldP spid="56" grpId="1" animBg="1"/>
          <p:bldP spid="56" grpId="2" animBg="1"/>
          <p:bldP spid="57" grpId="0"/>
          <p:bldP spid="57" grpId="1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284B5932-0A98-5755-11A0-960800996AA1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1221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1" name="!!BG">
            <a:extLst>
              <a:ext uri="{FF2B5EF4-FFF2-40B4-BE49-F238E27FC236}">
                <a16:creationId xmlns:a16="http://schemas.microsoft.com/office/drawing/2014/main" id="{1B15353D-FD80-6E07-D4AE-B9536B2DC8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5369" y="-2897"/>
            <a:ext cx="12193722" cy="7959227"/>
          </a:xfrm>
          <a:custGeom>
            <a:avLst/>
            <a:gdLst>
              <a:gd name="connsiteX0" fmla="*/ -600 w 12193722"/>
              <a:gd name="connsiteY0" fmla="*/ -338 h 6861861"/>
              <a:gd name="connsiteX1" fmla="*/ 12193123 w 12193722"/>
              <a:gd name="connsiteY1" fmla="*/ -338 h 6861861"/>
              <a:gd name="connsiteX2" fmla="*/ 12193123 w 12193722"/>
              <a:gd name="connsiteY2" fmla="*/ 6861524 h 6861861"/>
              <a:gd name="connsiteX3" fmla="*/ -600 w 12193722"/>
              <a:gd name="connsiteY3" fmla="*/ 6861524 h 68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722" h="6861861">
                <a:moveTo>
                  <a:pt x="-600" y="-338"/>
                </a:moveTo>
                <a:lnTo>
                  <a:pt x="12193123" y="-338"/>
                </a:lnTo>
                <a:lnTo>
                  <a:pt x="12193123" y="6861524"/>
                </a:lnTo>
                <a:lnTo>
                  <a:pt x="-600" y="6861524"/>
                </a:lnTo>
                <a:close/>
              </a:path>
            </a:pathLst>
          </a:cu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6456C076-7DC1-2683-F885-474B2A16CFD2}"/>
              </a:ext>
            </a:extLst>
          </p:cNvPr>
          <p:cNvSpPr txBox="1"/>
          <p:nvPr/>
        </p:nvSpPr>
        <p:spPr>
          <a:xfrm>
            <a:off x="1524000" y="2117765"/>
            <a:ext cx="9144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Aptos"/>
                <a:ea typeface="+mn-ea"/>
                <a:cs typeface="+mn-cs"/>
              </a:rPr>
              <a:t>The</a:t>
            </a:r>
            <a:r>
              <a:rPr kumimoji="0" lang="en-US" sz="5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>
                  <a:outerShdw blurRad="266700" dist="165100" dir="2700000" algn="tl" rotWithShape="0">
                    <a:prstClr val="black">
                      <a:alpha val="30000"/>
                    </a:prstClr>
                  </a:outerShdw>
                </a:effectLst>
                <a:uLnTx/>
                <a:uFillTx/>
                <a:latin typeface="Aptos"/>
                <a:ea typeface="+mn-ea"/>
                <a:cs typeface="+mn-cs"/>
              </a:rPr>
              <a:t> biggest challenge is</a:t>
            </a:r>
            <a:endParaRPr kumimoji="0" lang="nl-BE" sz="5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266700" dist="165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Aptos"/>
              <a:ea typeface="+mn-ea"/>
              <a:cs typeface="+mn-cs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82C379A5-7E56-322B-3CC3-2CD2134DB680}"/>
              </a:ext>
            </a:extLst>
          </p:cNvPr>
          <p:cNvGrpSpPr/>
          <p:nvPr/>
        </p:nvGrpSpPr>
        <p:grpSpPr>
          <a:xfrm>
            <a:off x="3671210" y="3827423"/>
            <a:ext cx="6570804" cy="1323439"/>
            <a:chOff x="637625" y="2866005"/>
            <a:chExt cx="4238637" cy="1323439"/>
          </a:xfrm>
        </p:grpSpPr>
        <p:sp>
          <p:nvSpPr>
            <p:cNvPr id="3" name="Rechthoek: afgeronde hoeken 2">
              <a:extLst>
                <a:ext uri="{FF2B5EF4-FFF2-40B4-BE49-F238E27FC236}">
                  <a16:creationId xmlns:a16="http://schemas.microsoft.com/office/drawing/2014/main" id="{93B3E52D-A54D-DC15-66CE-D930743D6CAD}"/>
                </a:ext>
              </a:extLst>
            </p:cNvPr>
            <p:cNvSpPr/>
            <p:nvPr/>
          </p:nvSpPr>
          <p:spPr>
            <a:xfrm>
              <a:off x="1845395" y="2963790"/>
              <a:ext cx="1821606" cy="1078816"/>
            </a:xfrm>
            <a:prstGeom prst="roundRect">
              <a:avLst>
                <a:gd name="adj" fmla="val 6151"/>
              </a:avLst>
            </a:prstGeom>
            <a:solidFill>
              <a:schemeClr val="accent4"/>
            </a:solidFill>
            <a:ln>
              <a:noFill/>
            </a:ln>
            <a:effectLst>
              <a:outerShdw blurRad="266700" dist="165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200"/>
            </a:p>
          </p:txBody>
        </p:sp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91E793F6-714C-2815-66AD-CEE059C0A52C}"/>
                </a:ext>
              </a:extLst>
            </p:cNvPr>
            <p:cNvSpPr txBox="1"/>
            <p:nvPr/>
          </p:nvSpPr>
          <p:spPr>
            <a:xfrm>
              <a:off x="637625" y="2866005"/>
              <a:ext cx="4238637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0" b="1">
                  <a:solidFill>
                    <a:schemeClr val="bg1"/>
                  </a:solidFill>
                </a:rPr>
                <a:t>TIME</a:t>
              </a:r>
            </a:p>
          </p:txBody>
        </p:sp>
      </p:grp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C5A5B50A-19AC-2906-DE5C-626B86F5595A}"/>
              </a:ext>
            </a:extLst>
          </p:cNvPr>
          <p:cNvSpPr/>
          <p:nvPr/>
        </p:nvSpPr>
        <p:spPr>
          <a:xfrm>
            <a:off x="4333331" y="3306270"/>
            <a:ext cx="1266432" cy="1267810"/>
          </a:xfrm>
          <a:prstGeom prst="roundRect">
            <a:avLst>
              <a:gd name="adj" fmla="val 6403"/>
            </a:avLst>
          </a:prstGeom>
          <a:solidFill>
            <a:schemeClr val="bg1"/>
          </a:solidFill>
          <a:ln>
            <a:noFill/>
          </a:ln>
          <a:effectLst>
            <a:outerShdw blurRad="266700" dist="165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800" b="1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9A66EFA-EC7E-CFD6-478A-3F4C68E27F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12811" y="3586439"/>
            <a:ext cx="707472" cy="70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213022"/>
      </p:ext>
    </p:extLst>
  </p:cSld>
  <p:clrMapOvr>
    <a:masterClrMapping/>
  </p:clrMapOvr>
  <p:transition spd="slow" advTm="3503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0 0.03889 L 0 2.59259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1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7" dur="10" fill="hold"/>
                                        <p:tgtEl>
                                          <p:spTgt spid="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6" presetClass="emp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9" dur="750" fill="hold"/>
                                        <p:tgtEl>
                                          <p:spTgt spid="1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autoRev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1" dur="300" fill="hold"/>
                                        <p:tgtEl>
                                          <p:spTgt spid="2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6" grpId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  <p:tag name="TIMING" val="|3.2|1.8|1.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9|1.6|1.5|1.4|1.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6|1.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Kantoorthema">
  <a:themeElements>
    <a:clrScheme name="Patch My PC">
      <a:dk1>
        <a:sysClr val="windowText" lastClr="000000"/>
      </a:dk1>
      <a:lt1>
        <a:sysClr val="window" lastClr="FFFFFF"/>
      </a:lt1>
      <a:dk2>
        <a:srgbClr val="002949"/>
      </a:dk2>
      <a:lt2>
        <a:srgbClr val="1BBC9B"/>
      </a:lt2>
      <a:accent1>
        <a:srgbClr val="002949"/>
      </a:accent1>
      <a:accent2>
        <a:srgbClr val="0490DA"/>
      </a:accent2>
      <a:accent3>
        <a:srgbClr val="6DBA44"/>
      </a:accent3>
      <a:accent4>
        <a:srgbClr val="1BBC9B"/>
      </a:accent4>
      <a:accent5>
        <a:srgbClr val="11A486"/>
      </a:accent5>
      <a:accent6>
        <a:srgbClr val="ABADCF"/>
      </a:accent6>
      <a:hlink>
        <a:srgbClr val="FFFFFF"/>
      </a:hlink>
      <a:folHlink>
        <a:srgbClr val="96607D"/>
      </a:folHlink>
    </a:clrScheme>
    <a:fontScheme name="Patch My PC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ustom Color 1">
      <a:srgbClr val="858D97"/>
    </a:custClr>
    <a:custClr name="Custom Color 2">
      <a:srgbClr val="007FC2"/>
    </a:custClr>
    <a:custClr name="Custom Color 3">
      <a:srgbClr val="50CD89"/>
    </a:custClr>
    <a:custClr name="Custom Color 4">
      <a:srgbClr val="FFC700"/>
    </a:custClr>
    <a:custClr name="Custom Color 5">
      <a:srgbClr val="F1416C"/>
    </a:custClr>
    <a:custClr name="Custom Color 6">
      <a:srgbClr val="F16141"/>
    </a:custClr>
    <a:custClr name="Custom Color 7">
      <a:srgbClr val="30E3FC"/>
    </a:custClr>
    <a:custClr name="Custom Color 8">
      <a:srgbClr val="6FBAFF"/>
    </a:custClr>
    <a:custClr name="Custom Color 9">
      <a:srgbClr val="5398FF"/>
    </a:custClr>
    <a:custClr name="Custom Color 10">
      <a:srgbClr val="BFFF9B"/>
    </a:custClr>
    <a:custClr name="Custom Color 11">
      <a:srgbClr val="BAE9FF"/>
    </a:custClr>
    <a:custClr name="Custom Color 12">
      <a:srgbClr val="FE7182"/>
    </a:custClr>
    <a:custClr name="Custom Color 13">
      <a:srgbClr val="53EAFF"/>
    </a:custClr>
    <a:custClr name="Custom Color 14">
      <a:srgbClr val="A091FE"/>
    </a:custClr>
    <a:custClr name="Custom Color 15">
      <a:srgbClr val="71B2FE"/>
    </a:custClr>
    <a:custClr name="Custom Color 16">
      <a:srgbClr val="002949"/>
    </a:custClr>
    <a:custClr name="Custom Color 17">
      <a:srgbClr val="003F61"/>
    </a:custClr>
    <a:custClr name="Custom Color 18">
      <a:srgbClr val="006094"/>
    </a:custClr>
    <a:custClr name="Custom Color 19">
      <a:srgbClr val="0081C6"/>
    </a:custClr>
    <a:custClr name="Custom Color 20">
      <a:srgbClr val="0490DA"/>
    </a:custClr>
    <a:custClr name="Custom Color 21">
      <a:srgbClr val="2EB6FF"/>
    </a:custClr>
    <a:custClr name="Custom Color 22">
      <a:srgbClr val="61C8FF"/>
    </a:custClr>
    <a:custClr name="Custom Color 23">
      <a:srgbClr val="96DAFF"/>
    </a:custClr>
    <a:custClr name="Custom Color 24">
      <a:srgbClr val="CCEDFF"/>
    </a:custClr>
    <a:custClr name="Custom Color 25">
      <a:srgbClr val="E5F6FF"/>
    </a:custClr>
    <a:custClr name="Custom Color 26">
      <a:srgbClr val="151521"/>
    </a:custClr>
    <a:custClr name="Custom Color 27">
      <a:srgbClr val="1E1E2D"/>
    </a:custClr>
    <a:custClr name="Custom Color 28">
      <a:srgbClr val="2A2A3C"/>
    </a:custClr>
    <a:custClr name="Custom Color 29">
      <a:srgbClr val="333347"/>
    </a:custClr>
    <a:custClr name="Custom Color 30">
      <a:srgbClr val="53536A"/>
    </a:custClr>
    <a:custClr name="Custom Color 31">
      <a:srgbClr val="818198"/>
    </a:custClr>
    <a:custClr name="Custom Color 32">
      <a:srgbClr val="ABABBA"/>
    </a:custClr>
    <a:custClr name="Custom Color 33">
      <a:srgbClr val="C6C6D2"/>
    </a:custClr>
    <a:custClr name="Custom Color 34">
      <a:srgbClr val="DDDDE4"/>
    </a:custClr>
    <a:custClr name="Custom Color 35">
      <a:srgbClr val="F0F0F4"/>
    </a:custClr>
  </a:custClrLst>
  <a:extLst>
    <a:ext uri="{05A4C25C-085E-4340-85A3-A5531E510DB2}">
      <thm15:themeFamily xmlns:thm15="http://schemas.microsoft.com/office/thememl/2012/main" name="Kantoorthema" id="{CD9E2D1D-2A10-4A5F-A221-E074AA27136C}" vid="{ACCE8F29-ADFB-40DF-8EBC-9485E4FE9C49}"/>
    </a:ext>
  </a:extLst>
</a:theme>
</file>

<file path=ppt/theme/theme2.xml><?xml version="1.0" encoding="utf-8"?>
<a:theme xmlns:a="http://schemas.openxmlformats.org/drawingml/2006/main" name="Dark Theme">
  <a:themeElements>
    <a:clrScheme name="Patch My PC Color Theme">
      <a:dk1>
        <a:srgbClr val="1E1E2D"/>
      </a:dk1>
      <a:lt1>
        <a:srgbClr val="FFFFFF"/>
      </a:lt1>
      <a:dk2>
        <a:srgbClr val="2A2A3C"/>
      </a:dk2>
      <a:lt2>
        <a:srgbClr val="EBEBF0"/>
      </a:lt2>
      <a:accent1>
        <a:srgbClr val="0490DA"/>
      </a:accent1>
      <a:accent2>
        <a:srgbClr val="007FC2"/>
      </a:accent2>
      <a:accent3>
        <a:srgbClr val="1BBC9B"/>
      </a:accent3>
      <a:accent4>
        <a:srgbClr val="11A486"/>
      </a:accent4>
      <a:accent5>
        <a:srgbClr val="EBEBF0"/>
      </a:accent5>
      <a:accent6>
        <a:srgbClr val="79828D"/>
      </a:accent6>
      <a:hlink>
        <a:srgbClr val="1BBC9B"/>
      </a:hlink>
      <a:folHlink>
        <a:srgbClr val="11A486"/>
      </a:folHlink>
    </a:clrScheme>
    <a:fontScheme name="Patch My PC Theme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45700" rIns="91425" bIns="45700" anchor="t" anchorCtr="0">
        <a:noAutofit/>
      </a:bodyPr>
      <a:lstStyle>
        <a:defPPr marL="0" marR="0" indent="0" algn="ctr" rtl="0">
          <a:spcBef>
            <a:spcPts val="0"/>
          </a:spcBef>
          <a:spcAft>
            <a:spcPts val="0"/>
          </a:spcAft>
          <a:buClr>
            <a:schemeClr val="accent4"/>
          </a:buClr>
          <a:buSzPts val="800"/>
          <a:buFont typeface="Arial"/>
          <a:buNone/>
          <a:defRPr sz="800" b="0" i="0" u="none" strike="noStrike" cap="none" dirty="0">
            <a:solidFill>
              <a:schemeClr val="bg2"/>
            </a:solidFill>
            <a:latin typeface="Roboto" panose="02000000000000000000" pitchFamily="2" charset="0"/>
            <a:ea typeface="Roboto" panose="02000000000000000000" pitchFamily="2" charset="0"/>
            <a:cs typeface="Poppins" panose="00000500000000000000" pitchFamily="2" charset="0"/>
            <a:sym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tch My PC - Template 1 1.pptx" id="{4B361760-06FE-485F-AA2D-75AD66CFA9CF}" vid="{24FACC85-F88C-4296-A8A2-7DE25D59D137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a9997c-3467-448a-b6fe-f7603406030e">
      <UserInfo>
        <DisplayName/>
        <AccountId xsi:nil="true"/>
        <AccountType/>
      </UserInfo>
    </SharedWithUsers>
    <lcf76f155ced4ddcb4097134ff3c332f xmlns="4461bd70-1a5b-4652-a17b-a939cc9edbe9">
      <Terms xmlns="http://schemas.microsoft.com/office/infopath/2007/PartnerControls"/>
    </lcf76f155ced4ddcb4097134ff3c332f>
    <TaxCatchAll xmlns="0fa9997c-3467-448a-b6fe-f7603406030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58E7DC1199A34C87353E17100E33FF" ma:contentTypeVersion="24" ma:contentTypeDescription="Create a new document." ma:contentTypeScope="" ma:versionID="e1e6905c3c3696db882498147fd171ac">
  <xsd:schema xmlns:xsd="http://www.w3.org/2001/XMLSchema" xmlns:xs="http://www.w3.org/2001/XMLSchema" xmlns:p="http://schemas.microsoft.com/office/2006/metadata/properties" xmlns:ns2="4461bd70-1a5b-4652-a17b-a939cc9edbe9" xmlns:ns3="0fa9997c-3467-448a-b6fe-f7603406030e" targetNamespace="http://schemas.microsoft.com/office/2006/metadata/properties" ma:root="true" ma:fieldsID="71628cbf7652169288214672ef6a9446" ns2:_="" ns3:_="">
    <xsd:import namespace="4461bd70-1a5b-4652-a17b-a939cc9edbe9"/>
    <xsd:import namespace="0fa9997c-3467-448a-b6fe-f760340603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TaxCatchAll" minOccurs="0"/>
                <xsd:element ref="ns2:lcf76f155ced4ddcb4097134ff3c332f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61bd70-1a5b-4652-a17b-a939cc9ed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bc4aeea-e14e-44be-ac4f-94ac1a061e4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a9997c-3467-448a-b6fe-f7603406030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0822f8b-dc39-4b5a-971e-6dee9e7a0df6}" ma:internalName="TaxCatchAll" ma:showField="CatchAllData" ma:web="0fa9997c-3467-448a-b6fe-f760340603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7C7CCE-0E2B-4B21-9F7F-00721D196494}">
  <ds:schemaRefs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4461bd70-1a5b-4652-a17b-a939cc9edbe9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0fa9997c-3467-448a-b6fe-f7603406030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D5ABF7A-965D-4E22-8A8C-7F1B6E9C2C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61bd70-1a5b-4652-a17b-a939cc9edbe9"/>
    <ds:schemaRef ds:uri="0fa9997c-3467-448a-b6fe-f760340603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5F1A2C-DD96-43FF-A17D-E270786D7EF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0295e80-f72f-47be-9b62-a6fb66570df7}" enabled="1" method="Standard" siteId="{b79783df-131e-4d00-8303-6f66c0fa4bf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antoorthema</Template>
  <TotalTime>0</TotalTime>
  <Words>2522</Words>
  <Application>Microsoft Office PowerPoint</Application>
  <PresentationFormat>Widescreen</PresentationFormat>
  <Paragraphs>398</Paragraphs>
  <Slides>50</Slides>
  <Notes>38</Notes>
  <HiddenSlides>1</HiddenSlides>
  <MMClips>1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0</vt:i4>
      </vt:variant>
    </vt:vector>
  </HeadingPairs>
  <TitlesOfParts>
    <vt:vector size="60" baseType="lpstr">
      <vt:lpstr>Aptos</vt:lpstr>
      <vt:lpstr>Arial</vt:lpstr>
      <vt:lpstr>Calibri</vt:lpstr>
      <vt:lpstr>Lato</vt:lpstr>
      <vt:lpstr>Poppins</vt:lpstr>
      <vt:lpstr>Roboto</vt:lpstr>
      <vt:lpstr>Söhne</vt:lpstr>
      <vt:lpstr>Wingdings</vt:lpstr>
      <vt:lpstr>Kantoorthema</vt:lpstr>
      <vt:lpstr>Dark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de by Smartpresentations</dc:title>
  <dc:creator>Céline Wuytack</dc:creator>
  <cp:keywords>www.smartpresentations.be</cp:keywords>
  <cp:lastModifiedBy>Ben Whitmore</cp:lastModifiedBy>
  <cp:revision>1</cp:revision>
  <dcterms:created xsi:type="dcterms:W3CDTF">2024-04-05T08:08:28Z</dcterms:created>
  <dcterms:modified xsi:type="dcterms:W3CDTF">2025-10-28T18:14:20Z</dcterms:modified>
  <cp:category>Made by Smartpresentation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xd_ProgID">
    <vt:lpwstr/>
  </property>
  <property fmtid="{D5CDD505-2E9C-101B-9397-08002B2CF9AE}" pid="3" name="MediaServiceImageTags">
    <vt:lpwstr/>
  </property>
  <property fmtid="{D5CDD505-2E9C-101B-9397-08002B2CF9AE}" pid="4" name="ContentTypeId">
    <vt:lpwstr>0x010100B458E7DC1199A34C87353E17100E33FF</vt:lpwstr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</Properties>
</file>